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3.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72" r:id="rId2"/>
  </p:sldMasterIdLst>
  <p:notesMasterIdLst>
    <p:notesMasterId r:id="rId11"/>
  </p:notesMasterIdLst>
  <p:sldIdLst>
    <p:sldId id="257" r:id="rId3"/>
    <p:sldId id="265" r:id="rId4"/>
    <p:sldId id="266" r:id="rId5"/>
    <p:sldId id="267" r:id="rId6"/>
    <p:sldId id="263" r:id="rId7"/>
    <p:sldId id="262" r:id="rId8"/>
    <p:sldId id="264" r:id="rId9"/>
    <p:sldId id="268" r:id="rId10"/>
  </p:sldIdLst>
  <p:sldSz cx="12192000" cy="6858000"/>
  <p:notesSz cx="6858000" cy="9144000"/>
  <p:custDataLst>
    <p:tags r:id="rId1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re Borvik Knutsen" initials="ABK" lastIdx="1" clrIdx="0">
    <p:extLst>
      <p:ext uri="{19B8F6BF-5375-455C-9EA6-DF929625EA0E}">
        <p15:presenceInfo xmlns:p15="http://schemas.microsoft.com/office/powerpoint/2012/main" userId="S-1-5-21-3673547719-3184036758-3542514917-5352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97" autoAdjust="0"/>
    <p:restoredTop sz="91646" autoAdjust="0"/>
  </p:normalViewPr>
  <p:slideViewPr>
    <p:cSldViewPr snapToGrid="0" showGuides="1">
      <p:cViewPr>
        <p:scale>
          <a:sx n="125" d="100"/>
          <a:sy n="125" d="100"/>
        </p:scale>
        <p:origin x="786" y="738"/>
      </p:cViewPr>
      <p:guideLst>
        <p:guide orient="horz" pos="2160"/>
        <p:guide pos="3840"/>
      </p:guideLst>
    </p:cSldViewPr>
  </p:slideViewPr>
  <p:outlineViewPr>
    <p:cViewPr>
      <p:scale>
        <a:sx n="33" d="100"/>
        <a:sy n="33" d="100"/>
      </p:scale>
      <p:origin x="0" y="-5484"/>
    </p:cViewPr>
  </p:outlin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commentAuthors" Target="commentAuthor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tags" Target="tags/tag1.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viewProps" Target="viewProps.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08F65CB-4294-4A7A-A6B1-A23BAAAE5924}" type="datetimeFigureOut">
              <a:rPr lang="en-US" smtClean="0"/>
              <a:t>1/11/2017</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b-NO"/>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9FC3528-2A13-443E-9B76-54311ABFC98C}" type="slidenum">
              <a:rPr lang="en-US" smtClean="0"/>
              <a:t>‹#›</a:t>
            </a:fld>
            <a:endParaRPr lang="en-US" dirty="0"/>
          </a:p>
        </p:txBody>
      </p:sp>
    </p:spTree>
    <p:extLst>
      <p:ext uri="{BB962C8B-B14F-4D97-AF65-F5344CB8AC3E}">
        <p14:creationId xmlns:p14="http://schemas.microsoft.com/office/powerpoint/2010/main" val="200075305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AC7A76-2B80-44F9-8D1A-2AE62115B3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620556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A5565D5-789A-48D6-AB08-F738B3D70A83}" type="slidenum">
              <a:rPr lang="en-US" smtClean="0"/>
              <a:t>2</a:t>
            </a:fld>
            <a:endParaRPr lang="en-US"/>
          </a:p>
        </p:txBody>
      </p:sp>
    </p:spTree>
    <p:extLst>
      <p:ext uri="{BB962C8B-B14F-4D97-AF65-F5344CB8AC3E}">
        <p14:creationId xmlns:p14="http://schemas.microsoft.com/office/powerpoint/2010/main" val="16130748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b="1" baseline="0" dirty="0" smtClean="0"/>
          </a:p>
        </p:txBody>
      </p:sp>
      <p:sp>
        <p:nvSpPr>
          <p:cNvPr id="4" name="Slide Number Placeholder 3"/>
          <p:cNvSpPr>
            <a:spLocks noGrp="1"/>
          </p:cNvSpPr>
          <p:nvPr>
            <p:ph type="sldNum" sz="quarter" idx="10"/>
          </p:nvPr>
        </p:nvSpPr>
        <p:spPr/>
        <p:txBody>
          <a:bodyPr/>
          <a:lstStyle/>
          <a:p>
            <a:fld id="{0A5565D5-789A-48D6-AB08-F738B3D70A83}" type="slidenum">
              <a:rPr lang="en-US" smtClean="0"/>
              <a:t>3</a:t>
            </a:fld>
            <a:endParaRPr lang="en-US"/>
          </a:p>
        </p:txBody>
      </p:sp>
    </p:spTree>
    <p:extLst>
      <p:ext uri="{BB962C8B-B14F-4D97-AF65-F5344CB8AC3E}">
        <p14:creationId xmlns:p14="http://schemas.microsoft.com/office/powerpoint/2010/main" val="6538079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9FC3528-2A13-443E-9B76-54311ABFC98C}" type="slidenum">
              <a:rPr lang="en-US" smtClean="0"/>
              <a:t>5</a:t>
            </a:fld>
            <a:endParaRPr lang="en-US" dirty="0"/>
          </a:p>
        </p:txBody>
      </p:sp>
    </p:spTree>
    <p:extLst>
      <p:ext uri="{BB962C8B-B14F-4D97-AF65-F5344CB8AC3E}">
        <p14:creationId xmlns:p14="http://schemas.microsoft.com/office/powerpoint/2010/main" val="364809466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9FC3528-2A13-443E-9B76-54311ABFC98C}" type="slidenum">
              <a:rPr lang="en-US" smtClean="0"/>
              <a:t>6</a:t>
            </a:fld>
            <a:endParaRPr lang="en-US" dirty="0"/>
          </a:p>
        </p:txBody>
      </p:sp>
    </p:spTree>
    <p:extLst>
      <p:ext uri="{BB962C8B-B14F-4D97-AF65-F5344CB8AC3E}">
        <p14:creationId xmlns:p14="http://schemas.microsoft.com/office/powerpoint/2010/main" val="35468862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endParaRPr lang="nb-NO" dirty="0"/>
          </a:p>
        </p:txBody>
      </p:sp>
    </p:spTree>
    <p:extLst>
      <p:ext uri="{BB962C8B-B14F-4D97-AF65-F5344CB8AC3E}">
        <p14:creationId xmlns:p14="http://schemas.microsoft.com/office/powerpoint/2010/main" val="212534050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4.emf"/><Relationship Id="rId4" Type="http://schemas.openxmlformats.org/officeDocument/2006/relationships/oleObject" Target="../embeddings/oleObject5.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5.emf"/><Relationship Id="rId4" Type="http://schemas.openxmlformats.org/officeDocument/2006/relationships/oleObject" Target="../embeddings/oleObject6.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fld id="{684856C6-7794-4164-A751-DA4BA9882635}" type="datetimeFigureOut">
              <a:rPr lang="en-US" smtClean="0"/>
              <a:t>1/11/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077FC1F-C628-4B2E-82E8-CD169320BA55}" type="slidenum">
              <a:rPr lang="en-US" smtClean="0"/>
              <a:t>‹#›</a:t>
            </a:fld>
            <a:endParaRPr lang="en-US" dirty="0"/>
          </a:p>
        </p:txBody>
      </p:sp>
    </p:spTree>
    <p:extLst>
      <p:ext uri="{BB962C8B-B14F-4D97-AF65-F5344CB8AC3E}">
        <p14:creationId xmlns:p14="http://schemas.microsoft.com/office/powerpoint/2010/main" val="255107888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p:txBody>
          <a:bodyPr/>
          <a:lstStyle/>
          <a:p>
            <a:fld id="{684856C6-7794-4164-A751-DA4BA9882635}" type="datetimeFigureOut">
              <a:rPr lang="en-US" smtClean="0"/>
              <a:t>1/11/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077FC1F-C628-4B2E-82E8-CD169320BA55}" type="slidenum">
              <a:rPr lang="en-US" smtClean="0"/>
              <a:t>‹#›</a:t>
            </a:fld>
            <a:endParaRPr lang="en-US" dirty="0"/>
          </a:p>
        </p:txBody>
      </p:sp>
    </p:spTree>
    <p:extLst>
      <p:ext uri="{BB962C8B-B14F-4D97-AF65-F5344CB8AC3E}">
        <p14:creationId xmlns:p14="http://schemas.microsoft.com/office/powerpoint/2010/main" val="17374197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dirty="0" smtClean="0"/>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p:txBody>
          <a:bodyPr/>
          <a:lstStyle/>
          <a:p>
            <a:fld id="{684856C6-7794-4164-A751-DA4BA9882635}" type="datetimeFigureOut">
              <a:rPr lang="en-US" smtClean="0"/>
              <a:t>1/11/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077FC1F-C628-4B2E-82E8-CD169320BA55}" type="slidenum">
              <a:rPr lang="en-US" smtClean="0"/>
              <a:t>‹#›</a:t>
            </a:fld>
            <a:endParaRPr lang="en-US" dirty="0"/>
          </a:p>
        </p:txBody>
      </p:sp>
    </p:spTree>
    <p:extLst>
      <p:ext uri="{BB962C8B-B14F-4D97-AF65-F5344CB8AC3E}">
        <p14:creationId xmlns:p14="http://schemas.microsoft.com/office/powerpoint/2010/main" val="29109292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Tittellysbilde">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72509074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4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5" name="Rectangle 19"/>
          <p:cNvSpPr>
            <a:spLocks noChangeArrowheads="1"/>
          </p:cNvSpPr>
          <p:nvPr/>
        </p:nvSpPr>
        <p:spPr bwMode="auto">
          <a:xfrm>
            <a:off x="0" y="0"/>
            <a:ext cx="12192000" cy="6858000"/>
          </a:xfrm>
          <a:prstGeom prst="rect">
            <a:avLst/>
          </a:prstGeom>
          <a:noFill/>
          <a:ln w="38100">
            <a:solidFill>
              <a:schemeClr val="bg1"/>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lvl1pPr>
              <a:defRPr sz="1000" b="1">
                <a:solidFill>
                  <a:schemeClr val="tx1"/>
                </a:solidFill>
                <a:latin typeface="Arial" panose="020B0604020202020204" pitchFamily="34" charset="0"/>
              </a:defRPr>
            </a:lvl1pPr>
            <a:lvl2pPr marL="742950" indent="-285750">
              <a:defRPr sz="1000" b="1">
                <a:solidFill>
                  <a:schemeClr val="tx1"/>
                </a:solidFill>
                <a:latin typeface="Arial" panose="020B0604020202020204" pitchFamily="34" charset="0"/>
              </a:defRPr>
            </a:lvl2pPr>
            <a:lvl3pPr marL="1143000" indent="-228600">
              <a:defRPr sz="1000" b="1">
                <a:solidFill>
                  <a:schemeClr val="tx1"/>
                </a:solidFill>
                <a:latin typeface="Arial" panose="020B0604020202020204" pitchFamily="34" charset="0"/>
              </a:defRPr>
            </a:lvl3pPr>
            <a:lvl4pPr marL="1600200" indent="-228600">
              <a:defRPr sz="1000" b="1">
                <a:solidFill>
                  <a:schemeClr val="tx1"/>
                </a:solidFill>
                <a:latin typeface="Arial" panose="020B0604020202020204" pitchFamily="34" charset="0"/>
              </a:defRPr>
            </a:lvl4pPr>
            <a:lvl5pPr marL="2057400" indent="-228600">
              <a:defRPr sz="1000" b="1">
                <a:solidFill>
                  <a:schemeClr val="tx1"/>
                </a:solidFill>
                <a:latin typeface="Arial" panose="020B0604020202020204" pitchFamily="34" charset="0"/>
              </a:defRPr>
            </a:lvl5pPr>
            <a:lvl6pPr marL="2514600" indent="-228600" algn="ctr" eaLnBrk="0" fontAlgn="base" hangingPunct="0">
              <a:lnSpc>
                <a:spcPct val="50000"/>
              </a:lnSpc>
              <a:spcBef>
                <a:spcPct val="50000"/>
              </a:spcBef>
              <a:spcAft>
                <a:spcPct val="0"/>
              </a:spcAft>
              <a:defRPr sz="1000" b="1">
                <a:solidFill>
                  <a:schemeClr val="tx1"/>
                </a:solidFill>
                <a:latin typeface="Arial" panose="020B0604020202020204" pitchFamily="34" charset="0"/>
              </a:defRPr>
            </a:lvl6pPr>
            <a:lvl7pPr marL="2971800" indent="-228600" algn="ctr" eaLnBrk="0" fontAlgn="base" hangingPunct="0">
              <a:lnSpc>
                <a:spcPct val="50000"/>
              </a:lnSpc>
              <a:spcBef>
                <a:spcPct val="50000"/>
              </a:spcBef>
              <a:spcAft>
                <a:spcPct val="0"/>
              </a:spcAft>
              <a:defRPr sz="1000" b="1">
                <a:solidFill>
                  <a:schemeClr val="tx1"/>
                </a:solidFill>
                <a:latin typeface="Arial" panose="020B0604020202020204" pitchFamily="34" charset="0"/>
              </a:defRPr>
            </a:lvl7pPr>
            <a:lvl8pPr marL="3429000" indent="-228600" algn="ctr" eaLnBrk="0" fontAlgn="base" hangingPunct="0">
              <a:lnSpc>
                <a:spcPct val="50000"/>
              </a:lnSpc>
              <a:spcBef>
                <a:spcPct val="50000"/>
              </a:spcBef>
              <a:spcAft>
                <a:spcPct val="0"/>
              </a:spcAft>
              <a:defRPr sz="1000" b="1">
                <a:solidFill>
                  <a:schemeClr val="tx1"/>
                </a:solidFill>
                <a:latin typeface="Arial" panose="020B0604020202020204" pitchFamily="34" charset="0"/>
              </a:defRPr>
            </a:lvl8pPr>
            <a:lvl9pPr marL="3886200" indent="-228600" algn="ctr" eaLnBrk="0" fontAlgn="base" hangingPunct="0">
              <a:lnSpc>
                <a:spcPct val="50000"/>
              </a:lnSpc>
              <a:spcBef>
                <a:spcPct val="50000"/>
              </a:spcBef>
              <a:spcAft>
                <a:spcPct val="0"/>
              </a:spcAft>
              <a:defRPr sz="1000" b="1">
                <a:solidFill>
                  <a:schemeClr val="tx1"/>
                </a:solidFill>
                <a:latin typeface="Arial" panose="020B0604020202020204" pitchFamily="34" charset="0"/>
              </a:defRPr>
            </a:lvl9pPr>
          </a:lstStyle>
          <a:p>
            <a:pPr algn="ctr" eaLnBrk="0" fontAlgn="base" hangingPunct="0">
              <a:lnSpc>
                <a:spcPct val="50000"/>
              </a:lnSpc>
              <a:spcBef>
                <a:spcPct val="50000"/>
              </a:spcBef>
              <a:spcAft>
                <a:spcPct val="0"/>
              </a:spcAft>
              <a:defRPr/>
            </a:pPr>
            <a:endParaRPr lang="en-US" dirty="0" smtClean="0">
              <a:solidFill>
                <a:srgbClr val="000000"/>
              </a:solidFill>
            </a:endParaRPr>
          </a:p>
        </p:txBody>
      </p:sp>
      <p:pic>
        <p:nvPicPr>
          <p:cNvPr id="6" name="Picture 27" descr="BOS_hvit_logo"/>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9228347" y="5721840"/>
            <a:ext cx="2766851" cy="4620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69723236"/>
      </p:ext>
    </p:extLst>
  </p:cSld>
  <p:clrMapOvr>
    <a:masterClrMapping/>
  </p:clrMapOvr>
  <p:transition spd="slow"/>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tellysbilde">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25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5" name="Rectangle 19"/>
          <p:cNvSpPr>
            <a:spLocks noChangeArrowheads="1"/>
          </p:cNvSpPr>
          <p:nvPr/>
        </p:nvSpPr>
        <p:spPr bwMode="auto">
          <a:xfrm>
            <a:off x="0" y="0"/>
            <a:ext cx="12192000" cy="6858000"/>
          </a:xfrm>
          <a:prstGeom prst="rect">
            <a:avLst/>
          </a:prstGeom>
          <a:noFill/>
          <a:ln w="38100">
            <a:solidFill>
              <a:schemeClr val="bg1"/>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lvl1pPr>
              <a:defRPr sz="1000" b="1">
                <a:solidFill>
                  <a:schemeClr val="tx1"/>
                </a:solidFill>
                <a:latin typeface="Arial" panose="020B0604020202020204" pitchFamily="34" charset="0"/>
              </a:defRPr>
            </a:lvl1pPr>
            <a:lvl2pPr marL="742950" indent="-285750">
              <a:defRPr sz="1000" b="1">
                <a:solidFill>
                  <a:schemeClr val="tx1"/>
                </a:solidFill>
                <a:latin typeface="Arial" panose="020B0604020202020204" pitchFamily="34" charset="0"/>
              </a:defRPr>
            </a:lvl2pPr>
            <a:lvl3pPr marL="1143000" indent="-228600">
              <a:defRPr sz="1000" b="1">
                <a:solidFill>
                  <a:schemeClr val="tx1"/>
                </a:solidFill>
                <a:latin typeface="Arial" panose="020B0604020202020204" pitchFamily="34" charset="0"/>
              </a:defRPr>
            </a:lvl3pPr>
            <a:lvl4pPr marL="1600200" indent="-228600">
              <a:defRPr sz="1000" b="1">
                <a:solidFill>
                  <a:schemeClr val="tx1"/>
                </a:solidFill>
                <a:latin typeface="Arial" panose="020B0604020202020204" pitchFamily="34" charset="0"/>
              </a:defRPr>
            </a:lvl4pPr>
            <a:lvl5pPr marL="2057400" indent="-228600">
              <a:defRPr sz="1000" b="1">
                <a:solidFill>
                  <a:schemeClr val="tx1"/>
                </a:solidFill>
                <a:latin typeface="Arial" panose="020B0604020202020204" pitchFamily="34" charset="0"/>
              </a:defRPr>
            </a:lvl5pPr>
            <a:lvl6pPr marL="2514600" indent="-228600" algn="ctr" eaLnBrk="0" fontAlgn="base" hangingPunct="0">
              <a:lnSpc>
                <a:spcPct val="50000"/>
              </a:lnSpc>
              <a:spcBef>
                <a:spcPct val="50000"/>
              </a:spcBef>
              <a:spcAft>
                <a:spcPct val="0"/>
              </a:spcAft>
              <a:defRPr sz="1000" b="1">
                <a:solidFill>
                  <a:schemeClr val="tx1"/>
                </a:solidFill>
                <a:latin typeface="Arial" panose="020B0604020202020204" pitchFamily="34" charset="0"/>
              </a:defRPr>
            </a:lvl6pPr>
            <a:lvl7pPr marL="2971800" indent="-228600" algn="ctr" eaLnBrk="0" fontAlgn="base" hangingPunct="0">
              <a:lnSpc>
                <a:spcPct val="50000"/>
              </a:lnSpc>
              <a:spcBef>
                <a:spcPct val="50000"/>
              </a:spcBef>
              <a:spcAft>
                <a:spcPct val="0"/>
              </a:spcAft>
              <a:defRPr sz="1000" b="1">
                <a:solidFill>
                  <a:schemeClr val="tx1"/>
                </a:solidFill>
                <a:latin typeface="Arial" panose="020B0604020202020204" pitchFamily="34" charset="0"/>
              </a:defRPr>
            </a:lvl7pPr>
            <a:lvl8pPr marL="3429000" indent="-228600" algn="ctr" eaLnBrk="0" fontAlgn="base" hangingPunct="0">
              <a:lnSpc>
                <a:spcPct val="50000"/>
              </a:lnSpc>
              <a:spcBef>
                <a:spcPct val="50000"/>
              </a:spcBef>
              <a:spcAft>
                <a:spcPct val="0"/>
              </a:spcAft>
              <a:defRPr sz="1000" b="1">
                <a:solidFill>
                  <a:schemeClr val="tx1"/>
                </a:solidFill>
                <a:latin typeface="Arial" panose="020B0604020202020204" pitchFamily="34" charset="0"/>
              </a:defRPr>
            </a:lvl8pPr>
            <a:lvl9pPr marL="3886200" indent="-228600" algn="ctr" eaLnBrk="0" fontAlgn="base" hangingPunct="0">
              <a:lnSpc>
                <a:spcPct val="50000"/>
              </a:lnSpc>
              <a:spcBef>
                <a:spcPct val="50000"/>
              </a:spcBef>
              <a:spcAft>
                <a:spcPct val="0"/>
              </a:spcAft>
              <a:defRPr sz="1000" b="1">
                <a:solidFill>
                  <a:schemeClr val="tx1"/>
                </a:solidFill>
                <a:latin typeface="Arial" panose="020B0604020202020204" pitchFamily="34" charset="0"/>
              </a:defRPr>
            </a:lvl9pPr>
          </a:lstStyle>
          <a:p>
            <a:pPr algn="ctr" eaLnBrk="0" fontAlgn="base" hangingPunct="0">
              <a:lnSpc>
                <a:spcPct val="50000"/>
              </a:lnSpc>
              <a:spcBef>
                <a:spcPct val="50000"/>
              </a:spcBef>
              <a:spcAft>
                <a:spcPct val="0"/>
              </a:spcAft>
              <a:defRPr/>
            </a:pPr>
            <a:endParaRPr lang="en-US" dirty="0" smtClean="0">
              <a:solidFill>
                <a:srgbClr val="000000"/>
              </a:solidFill>
            </a:endParaRPr>
          </a:p>
        </p:txBody>
      </p:sp>
      <p:pic>
        <p:nvPicPr>
          <p:cNvPr id="6" name="Picture 27" descr="BOS_hvit_logo"/>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9228347" y="5721840"/>
            <a:ext cx="2766851" cy="4620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p:cNvSpPr txBox="1"/>
          <p:nvPr userDrawn="1"/>
        </p:nvSpPr>
        <p:spPr>
          <a:xfrm>
            <a:off x="5303912" y="15311"/>
            <a:ext cx="1584176" cy="258532"/>
          </a:xfrm>
          <a:prstGeom prst="rect">
            <a:avLst/>
          </a:prstGeom>
          <a:noFill/>
        </p:spPr>
        <p:txBody>
          <a:bodyPr wrap="square" rtlCol="0">
            <a:spAutoFit/>
          </a:bodyPr>
          <a:lstStyle/>
          <a:p>
            <a:pPr marL="0" indent="0" algn="ctr">
              <a:lnSpc>
                <a:spcPct val="90000"/>
              </a:lnSpc>
              <a:spcBef>
                <a:spcPts val="200"/>
              </a:spcBef>
              <a:buSzPct val="80000"/>
              <a:buFont typeface="Wingdings" panose="05000000000000000000" pitchFamily="2" charset="2"/>
              <a:buNone/>
            </a:pPr>
            <a:r>
              <a:rPr lang="en-US" sz="1200" b="1" dirty="0" smtClean="0">
                <a:solidFill>
                  <a:schemeClr val="bg1"/>
                </a:solidFill>
              </a:rPr>
              <a:t>CONFIDENTIAL</a:t>
            </a:r>
          </a:p>
        </p:txBody>
      </p:sp>
    </p:spTree>
    <p:extLst>
      <p:ext uri="{BB962C8B-B14F-4D97-AF65-F5344CB8AC3E}">
        <p14:creationId xmlns:p14="http://schemas.microsoft.com/office/powerpoint/2010/main" val="401463103"/>
      </p:ext>
    </p:extLst>
  </p:cSld>
  <p:clrMapOvr>
    <a:masterClrMapping/>
  </p:clrMapOvr>
  <p:transition spd="slow"/>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877386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76" name="think-cell Slide" r:id="rId4" imgW="493" imgH="493" progId="TCLayout.ActiveDocument.1">
                  <p:embed/>
                </p:oleObj>
              </mc:Choice>
              <mc:Fallback>
                <p:oleObj name="think-cell Slide" r:id="rId4" imgW="493" imgH="49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tel 1"/>
          <p:cNvSpPr>
            <a:spLocks noGrp="1"/>
          </p:cNvSpPr>
          <p:nvPr>
            <p:ph type="title"/>
          </p:nvPr>
        </p:nvSpPr>
        <p:spPr/>
        <p:txBody>
          <a:bodyPr/>
          <a:lstStyle/>
          <a:p>
            <a:r>
              <a:rPr lang="en-US" dirty="0" smtClean="0"/>
              <a:t>Click to edit Master title style</a:t>
            </a:r>
            <a:endParaRPr lang="en-US" dirty="0"/>
          </a:p>
        </p:txBody>
      </p:sp>
      <p:sp>
        <p:nvSpPr>
          <p:cNvPr id="4" name="Rectangle 2"/>
          <p:cNvSpPr>
            <a:spLocks noGrp="1" noChangeArrowheads="1"/>
          </p:cNvSpPr>
          <p:nvPr>
            <p:ph idx="1"/>
          </p:nvPr>
        </p:nvSpPr>
        <p:spPr bwMode="auto">
          <a:xfrm>
            <a:off x="334434" y="1628775"/>
            <a:ext cx="11523133" cy="4248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2075" tIns="46038" rIns="92075" bIns="46038"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2314548127"/>
      </p:ext>
    </p:extLst>
  </p:cSld>
  <p:clrMapOvr>
    <a:masterClrMapping/>
  </p:clrMapOvr>
  <p:transition spd="slow"/>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Deloverskrift">
    <p:spTree>
      <p:nvGrpSpPr>
        <p:cNvPr id="1" name=""/>
        <p:cNvGrpSpPr/>
        <p:nvPr/>
      </p:nvGrpSpPr>
      <p:grpSpPr>
        <a:xfrm>
          <a:off x="0" y="0"/>
          <a:ext cx="0" cy="0"/>
          <a:chOff x="0" y="0"/>
          <a:chExt cx="0" cy="0"/>
        </a:xfrm>
      </p:grpSpPr>
      <p:sp>
        <p:nvSpPr>
          <p:cNvPr id="2" name="Tittel 1"/>
          <p:cNvSpPr>
            <a:spLocks noGrp="1"/>
          </p:cNvSpPr>
          <p:nvPr>
            <p:ph type="title"/>
          </p:nvPr>
        </p:nvSpPr>
        <p:spPr>
          <a:xfrm>
            <a:off x="963084" y="4406901"/>
            <a:ext cx="10363200" cy="523220"/>
          </a:xfrm>
        </p:spPr>
        <p:txBody>
          <a:bodyPr anchor="t"/>
          <a:lstStyle>
            <a:lvl1pPr algn="l">
              <a:defRPr sz="4000" b="1" cap="all"/>
            </a:lvl1pPr>
          </a:lstStyle>
          <a:p>
            <a:r>
              <a:rPr lang="en-US" dirty="0" smtClean="0"/>
              <a:t>Click to edit Master title style</a:t>
            </a:r>
            <a:endParaRPr lang="en-US" dirty="0"/>
          </a:p>
        </p:txBody>
      </p:sp>
      <p:sp>
        <p:nvSpPr>
          <p:cNvPr id="3" name="Plassholder for tekst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smtClean="0"/>
              <a:t>Click to edit Master text styles</a:t>
            </a:r>
          </a:p>
        </p:txBody>
      </p:sp>
      <p:sp>
        <p:nvSpPr>
          <p:cNvPr id="4" name="TextBox 3"/>
          <p:cNvSpPr txBox="1"/>
          <p:nvPr userDrawn="1"/>
        </p:nvSpPr>
        <p:spPr>
          <a:xfrm>
            <a:off x="5303912" y="15311"/>
            <a:ext cx="1584176" cy="258532"/>
          </a:xfrm>
          <a:prstGeom prst="rect">
            <a:avLst/>
          </a:prstGeom>
          <a:noFill/>
        </p:spPr>
        <p:txBody>
          <a:bodyPr wrap="square" rtlCol="0">
            <a:spAutoFit/>
          </a:bodyPr>
          <a:lstStyle/>
          <a:p>
            <a:pPr marL="0" indent="0" algn="ctr">
              <a:lnSpc>
                <a:spcPct val="90000"/>
              </a:lnSpc>
              <a:spcBef>
                <a:spcPts val="200"/>
              </a:spcBef>
              <a:buSzPct val="80000"/>
              <a:buFont typeface="Wingdings" panose="05000000000000000000" pitchFamily="2" charset="2"/>
              <a:buNone/>
            </a:pPr>
            <a:r>
              <a:rPr lang="en-US" sz="1200" b="1" dirty="0" smtClean="0">
                <a:solidFill>
                  <a:schemeClr val="tx1"/>
                </a:solidFill>
              </a:rPr>
              <a:t>CONFIDENTIAL</a:t>
            </a:r>
          </a:p>
        </p:txBody>
      </p:sp>
    </p:spTree>
    <p:extLst>
      <p:ext uri="{BB962C8B-B14F-4D97-AF65-F5344CB8AC3E}">
        <p14:creationId xmlns:p14="http://schemas.microsoft.com/office/powerpoint/2010/main" val="1105907528"/>
      </p:ext>
    </p:extLst>
  </p:cSld>
  <p:clrMapOvr>
    <a:masterClrMapping/>
  </p:clrMapOvr>
  <p:transition spd="slow"/>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en-US" dirty="0" smtClean="0"/>
              <a:t>Click to edit Master title style</a:t>
            </a:r>
            <a:endParaRPr lang="en-US" dirty="0"/>
          </a:p>
        </p:txBody>
      </p:sp>
      <p:sp>
        <p:nvSpPr>
          <p:cNvPr id="3" name="Plassholder for innhold 2"/>
          <p:cNvSpPr>
            <a:spLocks noGrp="1"/>
          </p:cNvSpPr>
          <p:nvPr>
            <p:ph sz="half" idx="1"/>
          </p:nvPr>
        </p:nvSpPr>
        <p:spPr>
          <a:xfrm>
            <a:off x="334433" y="1341439"/>
            <a:ext cx="5708651" cy="453548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Plassholder for innhold 3"/>
          <p:cNvSpPr>
            <a:spLocks noGrp="1"/>
          </p:cNvSpPr>
          <p:nvPr>
            <p:ph sz="half" idx="2"/>
          </p:nvPr>
        </p:nvSpPr>
        <p:spPr>
          <a:xfrm>
            <a:off x="6246284" y="1341439"/>
            <a:ext cx="5611283" cy="453548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Box 4"/>
          <p:cNvSpPr txBox="1"/>
          <p:nvPr userDrawn="1"/>
        </p:nvSpPr>
        <p:spPr>
          <a:xfrm>
            <a:off x="5303912" y="15311"/>
            <a:ext cx="1584176" cy="258532"/>
          </a:xfrm>
          <a:prstGeom prst="rect">
            <a:avLst/>
          </a:prstGeom>
          <a:noFill/>
        </p:spPr>
        <p:txBody>
          <a:bodyPr wrap="square" rtlCol="0">
            <a:spAutoFit/>
          </a:bodyPr>
          <a:lstStyle/>
          <a:p>
            <a:pPr marL="0" indent="0" algn="ctr">
              <a:lnSpc>
                <a:spcPct val="90000"/>
              </a:lnSpc>
              <a:spcBef>
                <a:spcPts val="200"/>
              </a:spcBef>
              <a:buSzPct val="80000"/>
              <a:buFont typeface="Wingdings" panose="05000000000000000000" pitchFamily="2" charset="2"/>
              <a:buNone/>
            </a:pPr>
            <a:r>
              <a:rPr lang="en-US" sz="1200" b="1" dirty="0" smtClean="0">
                <a:solidFill>
                  <a:schemeClr val="tx1"/>
                </a:solidFill>
              </a:rPr>
              <a:t>CONFIDENTIAL</a:t>
            </a:r>
          </a:p>
        </p:txBody>
      </p:sp>
    </p:spTree>
    <p:extLst>
      <p:ext uri="{BB962C8B-B14F-4D97-AF65-F5344CB8AC3E}">
        <p14:creationId xmlns:p14="http://schemas.microsoft.com/office/powerpoint/2010/main" val="938426455"/>
      </p:ext>
    </p:extLst>
  </p:cSld>
  <p:clrMapOvr>
    <a:masterClrMapping/>
  </p:clrMapOvr>
  <p:transition spd="slow"/>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737214353"/>
      </p:ext>
    </p:extLst>
  </p:cSld>
  <p:clrMapOvr>
    <a:masterClrMapping/>
  </p:clrMapOvr>
  <p:transition spd="slow"/>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TextBox 1"/>
          <p:cNvSpPr txBox="1"/>
          <p:nvPr userDrawn="1"/>
        </p:nvSpPr>
        <p:spPr>
          <a:xfrm>
            <a:off x="5303912" y="15311"/>
            <a:ext cx="1584176" cy="258532"/>
          </a:xfrm>
          <a:prstGeom prst="rect">
            <a:avLst/>
          </a:prstGeom>
          <a:noFill/>
        </p:spPr>
        <p:txBody>
          <a:bodyPr wrap="square" rtlCol="0">
            <a:spAutoFit/>
          </a:bodyPr>
          <a:lstStyle/>
          <a:p>
            <a:pPr marL="0" indent="0" algn="ctr">
              <a:lnSpc>
                <a:spcPct val="90000"/>
              </a:lnSpc>
              <a:spcBef>
                <a:spcPts val="200"/>
              </a:spcBef>
              <a:buSzPct val="80000"/>
              <a:buFont typeface="Wingdings" panose="05000000000000000000" pitchFamily="2" charset="2"/>
              <a:buNone/>
            </a:pPr>
            <a:r>
              <a:rPr lang="en-US" sz="1200" b="1" dirty="0" smtClean="0">
                <a:solidFill>
                  <a:schemeClr val="tx1"/>
                </a:solidFill>
              </a:rPr>
              <a:t>CONFIDENTIAL</a:t>
            </a:r>
          </a:p>
        </p:txBody>
      </p:sp>
    </p:spTree>
    <p:extLst>
      <p:ext uri="{BB962C8B-B14F-4D97-AF65-F5344CB8AC3E}">
        <p14:creationId xmlns:p14="http://schemas.microsoft.com/office/powerpoint/2010/main" val="2925089828"/>
      </p:ext>
    </p:extLst>
  </p:cSld>
  <p:clrMapOvr>
    <a:masterClrMapping/>
  </p:clrMapOvr>
  <p:transition spd="slow"/>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609601" y="1173490"/>
            <a:ext cx="4011084" cy="261610"/>
          </a:xfrm>
        </p:spPr>
        <p:txBody>
          <a:bodyPr/>
          <a:lstStyle>
            <a:lvl1pPr algn="l">
              <a:defRPr sz="2000" b="1"/>
            </a:lvl1pPr>
          </a:lstStyle>
          <a:p>
            <a:r>
              <a:rPr lang="en-US" dirty="0" smtClean="0"/>
              <a:t>Click to edit Master title style</a:t>
            </a:r>
            <a:endParaRPr lang="en-US" dirty="0"/>
          </a:p>
        </p:txBody>
      </p:sp>
      <p:sp>
        <p:nvSpPr>
          <p:cNvPr id="3" name="Plassholder for innhold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Plassholder for tekst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Master text styles</a:t>
            </a:r>
          </a:p>
        </p:txBody>
      </p:sp>
      <p:sp>
        <p:nvSpPr>
          <p:cNvPr id="5" name="TextBox 4"/>
          <p:cNvSpPr txBox="1"/>
          <p:nvPr userDrawn="1"/>
        </p:nvSpPr>
        <p:spPr>
          <a:xfrm>
            <a:off x="5303912" y="15311"/>
            <a:ext cx="1584176" cy="258532"/>
          </a:xfrm>
          <a:prstGeom prst="rect">
            <a:avLst/>
          </a:prstGeom>
          <a:noFill/>
        </p:spPr>
        <p:txBody>
          <a:bodyPr wrap="square" rtlCol="0">
            <a:spAutoFit/>
          </a:bodyPr>
          <a:lstStyle/>
          <a:p>
            <a:pPr marL="0" indent="0" algn="ctr">
              <a:lnSpc>
                <a:spcPct val="90000"/>
              </a:lnSpc>
              <a:spcBef>
                <a:spcPts val="200"/>
              </a:spcBef>
              <a:buSzPct val="80000"/>
              <a:buFont typeface="Wingdings" panose="05000000000000000000" pitchFamily="2" charset="2"/>
              <a:buNone/>
            </a:pPr>
            <a:r>
              <a:rPr lang="en-US" sz="1200" b="1" dirty="0" smtClean="0">
                <a:solidFill>
                  <a:schemeClr val="tx1"/>
                </a:solidFill>
              </a:rPr>
              <a:t>CONFIDENTIAL</a:t>
            </a:r>
          </a:p>
        </p:txBody>
      </p:sp>
    </p:spTree>
    <p:extLst>
      <p:ext uri="{BB962C8B-B14F-4D97-AF65-F5344CB8AC3E}">
        <p14:creationId xmlns:p14="http://schemas.microsoft.com/office/powerpoint/2010/main" val="1634384525"/>
      </p:ext>
    </p:extLst>
  </p:cSld>
  <p:clrMapOvr>
    <a:masterClrMapping/>
  </p:clrMapOvr>
  <p:transition spd="slow"/>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p:txBody>
          <a:bodyPr/>
          <a:lstStyle/>
          <a:p>
            <a:fld id="{684856C6-7794-4164-A751-DA4BA9882635}" type="datetimeFigureOut">
              <a:rPr lang="en-US" smtClean="0"/>
              <a:t>1/11/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077FC1F-C628-4B2E-82E8-CD169320BA55}" type="slidenum">
              <a:rPr lang="en-US" smtClean="0"/>
              <a:t>‹#›</a:t>
            </a:fld>
            <a:endParaRPr lang="en-US" dirty="0"/>
          </a:p>
        </p:txBody>
      </p:sp>
    </p:spTree>
    <p:extLst>
      <p:ext uri="{BB962C8B-B14F-4D97-AF65-F5344CB8AC3E}">
        <p14:creationId xmlns:p14="http://schemas.microsoft.com/office/powerpoint/2010/main" val="27960692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2389717" y="5105728"/>
            <a:ext cx="7315200" cy="261610"/>
          </a:xfrm>
        </p:spPr>
        <p:txBody>
          <a:bodyPr/>
          <a:lstStyle>
            <a:lvl1pPr algn="l">
              <a:defRPr sz="2000" b="1"/>
            </a:lvl1pPr>
          </a:lstStyle>
          <a:p>
            <a:r>
              <a:rPr lang="en-US" dirty="0" smtClean="0"/>
              <a:t>Click to edit Master title style</a:t>
            </a:r>
            <a:endParaRPr lang="en-US" dirty="0"/>
          </a:p>
        </p:txBody>
      </p:sp>
      <p:sp>
        <p:nvSpPr>
          <p:cNvPr id="3" name="Plassholder for bilde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p>
        </p:txBody>
      </p:sp>
      <p:sp>
        <p:nvSpPr>
          <p:cNvPr id="4" name="Plassholder for tekst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Master text styles</a:t>
            </a:r>
          </a:p>
        </p:txBody>
      </p:sp>
      <p:sp>
        <p:nvSpPr>
          <p:cNvPr id="5" name="TextBox 4"/>
          <p:cNvSpPr txBox="1"/>
          <p:nvPr userDrawn="1"/>
        </p:nvSpPr>
        <p:spPr>
          <a:xfrm>
            <a:off x="5303912" y="15311"/>
            <a:ext cx="1584176" cy="258532"/>
          </a:xfrm>
          <a:prstGeom prst="rect">
            <a:avLst/>
          </a:prstGeom>
          <a:noFill/>
        </p:spPr>
        <p:txBody>
          <a:bodyPr wrap="square" rtlCol="0">
            <a:spAutoFit/>
          </a:bodyPr>
          <a:lstStyle/>
          <a:p>
            <a:pPr marL="0" indent="0" algn="ctr">
              <a:lnSpc>
                <a:spcPct val="90000"/>
              </a:lnSpc>
              <a:spcBef>
                <a:spcPts val="200"/>
              </a:spcBef>
              <a:buSzPct val="80000"/>
              <a:buFont typeface="Wingdings" panose="05000000000000000000" pitchFamily="2" charset="2"/>
              <a:buNone/>
            </a:pPr>
            <a:r>
              <a:rPr lang="en-US" sz="1200" b="1" dirty="0" smtClean="0">
                <a:solidFill>
                  <a:schemeClr val="tx1"/>
                </a:solidFill>
              </a:rPr>
              <a:t>CONFIDENTIAL</a:t>
            </a:r>
          </a:p>
        </p:txBody>
      </p:sp>
    </p:spTree>
    <p:extLst>
      <p:ext uri="{BB962C8B-B14F-4D97-AF65-F5344CB8AC3E}">
        <p14:creationId xmlns:p14="http://schemas.microsoft.com/office/powerpoint/2010/main" val="584429821"/>
      </p:ext>
    </p:extLst>
  </p:cSld>
  <p:clrMapOvr>
    <a:masterClrMapping/>
  </p:clrMapOvr>
  <p:transition spd="slow"/>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A.T. Kearney TitleOnly 2014">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326400" y="823140"/>
            <a:ext cx="11520000" cy="313932"/>
          </a:xfrm>
          <a:prstGeom prst="rect">
            <a:avLst/>
          </a:prstGeom>
          <a:noFill/>
          <a:ln>
            <a:noFill/>
          </a:ln>
        </p:spPr>
        <p:txBody>
          <a:bodyPr rtlCol="0"/>
          <a:lstStyle>
            <a:lvl1pPr>
              <a:defRPr/>
            </a:lvl1pPr>
          </a:lstStyle>
          <a:p>
            <a:r>
              <a:rPr lang="en-US" dirty="0" smtClean="0"/>
              <a:t>Headline of maximum two lines here</a:t>
            </a:r>
            <a:endParaRPr lang="en-US" dirty="0"/>
          </a:p>
        </p:txBody>
      </p:sp>
    </p:spTree>
    <p:extLst>
      <p:ext uri="{BB962C8B-B14F-4D97-AF65-F5344CB8AC3E}">
        <p14:creationId xmlns:p14="http://schemas.microsoft.com/office/powerpoint/2010/main" val="1657044019"/>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A.T. Kearney TitleAndText 2013">
    <p:spTree>
      <p:nvGrpSpPr>
        <p:cNvPr id="1" name=""/>
        <p:cNvGrpSpPr/>
        <p:nvPr/>
      </p:nvGrpSpPr>
      <p:grpSpPr>
        <a:xfrm>
          <a:off x="0" y="0"/>
          <a:ext cx="0" cy="0"/>
          <a:chOff x="0" y="0"/>
          <a:chExt cx="0" cy="0"/>
        </a:xfrm>
      </p:grpSpPr>
      <p:sp>
        <p:nvSpPr>
          <p:cNvPr id="19" name="Title Placeholder 1"/>
          <p:cNvSpPr>
            <a:spLocks noGrp="1"/>
          </p:cNvSpPr>
          <p:nvPr>
            <p:ph type="title" hasCustomPrompt="1"/>
          </p:nvPr>
        </p:nvSpPr>
        <p:spPr>
          <a:xfrm>
            <a:off x="326400" y="823140"/>
            <a:ext cx="11520000" cy="313932"/>
          </a:xfrm>
          <a:prstGeom prst="rect">
            <a:avLst/>
          </a:prstGeom>
          <a:noFill/>
          <a:ln>
            <a:noFill/>
          </a:ln>
        </p:spPr>
        <p:txBody>
          <a:bodyPr rtlCol="0"/>
          <a:lstStyle>
            <a:lvl1pPr>
              <a:defRPr/>
            </a:lvl1pPr>
          </a:lstStyle>
          <a:p>
            <a:r>
              <a:rPr lang="en-US" dirty="0" smtClean="0"/>
              <a:t>Headline of maximum two lines here</a:t>
            </a:r>
            <a:endParaRPr lang="en-US" dirty="0"/>
          </a:p>
        </p:txBody>
      </p:sp>
      <p:sp>
        <p:nvSpPr>
          <p:cNvPr id="4" name="Text Placeholder 3"/>
          <p:cNvSpPr>
            <a:spLocks noGrp="1"/>
          </p:cNvSpPr>
          <p:nvPr>
            <p:ph type="body" sz="quarter" idx="10" hasCustomPrompt="1"/>
          </p:nvPr>
        </p:nvSpPr>
        <p:spPr>
          <a:xfrm>
            <a:off x="325967" y="2060575"/>
            <a:ext cx="11520000" cy="1338828"/>
          </a:xfrm>
        </p:spPr>
        <p:txBody>
          <a:bodyPr/>
          <a:lstStyle>
            <a:lvl1pPr>
              <a:defRPr baseline="0"/>
            </a:lvl1pPr>
          </a:lstStyle>
          <a:p>
            <a:pPr lvl="0"/>
            <a:r>
              <a:rPr lang="en-US" dirty="0" smtClean="0"/>
              <a:t>Text on first level her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073715532"/>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tx">
  <p:cSld name="Tittel og punktteg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spid="_x0000_s15363" name="think-cell Slide" r:id="rId4" imgW="526" imgH="526" progId="TCLayout.ActiveDocument.1">
                  <p:embed/>
                </p:oleObj>
              </mc:Choice>
              <mc:Fallback>
                <p:oleObj name="think-cell Slide" r:id="rId4" imgW="526" imgH="526" progId="TCLayout.ActiveDocument.1">
                  <p:embed/>
                  <p:pic>
                    <p:nvPicPr>
                      <p:cNvPr id="2" name="Object 1" hidden="1"/>
                      <p:cNvPicPr/>
                      <p:nvPr/>
                    </p:nvPicPr>
                    <p:blipFill>
                      <a:blip r:embed="rId5"/>
                      <a:stretch>
                        <a:fillRect/>
                      </a:stretch>
                    </p:blipFill>
                    <p:spPr>
                      <a:xfrm>
                        <a:off x="794" y="794"/>
                        <a:ext cx="794" cy="794"/>
                      </a:xfrm>
                      <a:prstGeom prst="rect">
                        <a:avLst/>
                      </a:prstGeom>
                    </p:spPr>
                  </p:pic>
                </p:oleObj>
              </mc:Fallback>
            </mc:AlternateContent>
          </a:graphicData>
        </a:graphic>
      </p:graphicFrame>
      <p:sp>
        <p:nvSpPr>
          <p:cNvPr id="56" name="Shape 56"/>
          <p:cNvSpPr>
            <a:spLocks noGrp="1"/>
          </p:cNvSpPr>
          <p:nvPr>
            <p:ph type="title"/>
          </p:nvPr>
        </p:nvSpPr>
        <p:spPr>
          <a:prstGeom prst="rect">
            <a:avLst/>
          </a:prstGeom>
        </p:spPr>
        <p:txBody>
          <a:bodyPr/>
          <a:lstStyle/>
          <a:p>
            <a:r>
              <a:t>Titteltekst</a:t>
            </a:r>
          </a:p>
        </p:txBody>
      </p:sp>
      <p:sp>
        <p:nvSpPr>
          <p:cNvPr id="57" name="Shape 57"/>
          <p:cNvSpPr>
            <a:spLocks noGrp="1"/>
          </p:cNvSpPr>
          <p:nvPr>
            <p:ph type="body" idx="1"/>
          </p:nvPr>
        </p:nvSpPr>
        <p:spPr>
          <a:prstGeom prst="rect">
            <a:avLst/>
          </a:prstGeom>
        </p:spPr>
        <p:txBody>
          <a:bodyPr/>
          <a:lstStyle/>
          <a:p>
            <a:r>
              <a:t>Brødtekst nivå én</a:t>
            </a:r>
          </a:p>
          <a:p>
            <a:pPr lvl="1"/>
            <a:r>
              <a:t>Brødtekst nivå to</a:t>
            </a:r>
          </a:p>
          <a:p>
            <a:pPr lvl="2"/>
            <a:r>
              <a:t>Brødtekst nivå tre</a:t>
            </a:r>
          </a:p>
          <a:p>
            <a:pPr lvl="3"/>
            <a:r>
              <a:t>Brødtekst nivå fire</a:t>
            </a:r>
          </a:p>
          <a:p>
            <a:pPr lvl="4"/>
            <a:r>
              <a:t>Brødtekst nivå fem</a:t>
            </a:r>
          </a:p>
        </p:txBody>
      </p:sp>
      <p:sp>
        <p:nvSpPr>
          <p:cNvPr id="58" name="Shape 58"/>
          <p:cNvSpPr>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134764888"/>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dirty="0" smtClean="0"/>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smtClean="0"/>
              <a:t>Edit Master text styles</a:t>
            </a:r>
          </a:p>
        </p:txBody>
      </p:sp>
      <p:sp>
        <p:nvSpPr>
          <p:cNvPr id="4" name="Date Placeholder 3"/>
          <p:cNvSpPr>
            <a:spLocks noGrp="1"/>
          </p:cNvSpPr>
          <p:nvPr>
            <p:ph type="dt" sz="half" idx="10"/>
          </p:nvPr>
        </p:nvSpPr>
        <p:spPr/>
        <p:txBody>
          <a:bodyPr/>
          <a:lstStyle/>
          <a:p>
            <a:fld id="{684856C6-7794-4164-A751-DA4BA9882635}" type="datetimeFigureOut">
              <a:rPr lang="en-US" smtClean="0"/>
              <a:t>1/11/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077FC1F-C628-4B2E-82E8-CD169320BA55}" type="slidenum">
              <a:rPr lang="en-US" smtClean="0"/>
              <a:t>‹#›</a:t>
            </a:fld>
            <a:endParaRPr lang="en-US" dirty="0"/>
          </a:p>
        </p:txBody>
      </p:sp>
    </p:spTree>
    <p:extLst>
      <p:ext uri="{BB962C8B-B14F-4D97-AF65-F5344CB8AC3E}">
        <p14:creationId xmlns:p14="http://schemas.microsoft.com/office/powerpoint/2010/main" val="232804943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Date Placeholder 4"/>
          <p:cNvSpPr>
            <a:spLocks noGrp="1"/>
          </p:cNvSpPr>
          <p:nvPr>
            <p:ph type="dt" sz="half" idx="10"/>
          </p:nvPr>
        </p:nvSpPr>
        <p:spPr/>
        <p:txBody>
          <a:bodyPr/>
          <a:lstStyle/>
          <a:p>
            <a:fld id="{684856C6-7794-4164-A751-DA4BA9882635}" type="datetimeFigureOut">
              <a:rPr lang="en-US" smtClean="0"/>
              <a:t>1/11/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077FC1F-C628-4B2E-82E8-CD169320BA55}" type="slidenum">
              <a:rPr lang="en-US" smtClean="0"/>
              <a:t>‹#›</a:t>
            </a:fld>
            <a:endParaRPr lang="en-US" dirty="0"/>
          </a:p>
        </p:txBody>
      </p:sp>
    </p:spTree>
    <p:extLst>
      <p:ext uri="{BB962C8B-B14F-4D97-AF65-F5344CB8AC3E}">
        <p14:creationId xmlns:p14="http://schemas.microsoft.com/office/powerpoint/2010/main" val="36139700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dirty="0" smtClean="0"/>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Date Placeholder 6"/>
          <p:cNvSpPr>
            <a:spLocks noGrp="1"/>
          </p:cNvSpPr>
          <p:nvPr>
            <p:ph type="dt" sz="half" idx="10"/>
          </p:nvPr>
        </p:nvSpPr>
        <p:spPr/>
        <p:txBody>
          <a:bodyPr/>
          <a:lstStyle/>
          <a:p>
            <a:fld id="{684856C6-7794-4164-A751-DA4BA9882635}" type="datetimeFigureOut">
              <a:rPr lang="en-US" smtClean="0"/>
              <a:t>1/11/2017</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8077FC1F-C628-4B2E-82E8-CD169320BA55}" type="slidenum">
              <a:rPr lang="en-US" smtClean="0"/>
              <a:t>‹#›</a:t>
            </a:fld>
            <a:endParaRPr lang="en-US" dirty="0"/>
          </a:p>
        </p:txBody>
      </p:sp>
    </p:spTree>
    <p:extLst>
      <p:ext uri="{BB962C8B-B14F-4D97-AF65-F5344CB8AC3E}">
        <p14:creationId xmlns:p14="http://schemas.microsoft.com/office/powerpoint/2010/main" val="253924996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Date Placeholder 2"/>
          <p:cNvSpPr>
            <a:spLocks noGrp="1"/>
          </p:cNvSpPr>
          <p:nvPr>
            <p:ph type="dt" sz="half" idx="10"/>
          </p:nvPr>
        </p:nvSpPr>
        <p:spPr/>
        <p:txBody>
          <a:bodyPr/>
          <a:lstStyle/>
          <a:p>
            <a:fld id="{684856C6-7794-4164-A751-DA4BA9882635}" type="datetimeFigureOut">
              <a:rPr lang="en-US" smtClean="0"/>
              <a:t>1/11/2017</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8077FC1F-C628-4B2E-82E8-CD169320BA55}" type="slidenum">
              <a:rPr lang="en-US" smtClean="0"/>
              <a:t>‹#›</a:t>
            </a:fld>
            <a:endParaRPr lang="en-US" dirty="0"/>
          </a:p>
        </p:txBody>
      </p:sp>
    </p:spTree>
    <p:extLst>
      <p:ext uri="{BB962C8B-B14F-4D97-AF65-F5344CB8AC3E}">
        <p14:creationId xmlns:p14="http://schemas.microsoft.com/office/powerpoint/2010/main" val="278400398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84856C6-7794-4164-A751-DA4BA9882635}" type="datetimeFigureOut">
              <a:rPr lang="en-US" smtClean="0"/>
              <a:t>1/11/2017</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8077FC1F-C628-4B2E-82E8-CD169320BA55}" type="slidenum">
              <a:rPr lang="en-US" smtClean="0"/>
              <a:t>‹#›</a:t>
            </a:fld>
            <a:endParaRPr lang="en-US" dirty="0"/>
          </a:p>
        </p:txBody>
      </p:sp>
    </p:spTree>
    <p:extLst>
      <p:ext uri="{BB962C8B-B14F-4D97-AF65-F5344CB8AC3E}">
        <p14:creationId xmlns:p14="http://schemas.microsoft.com/office/powerpoint/2010/main" val="28826096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dirty="0" smtClean="0"/>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Edit Master text styles</a:t>
            </a:r>
          </a:p>
        </p:txBody>
      </p:sp>
      <p:sp>
        <p:nvSpPr>
          <p:cNvPr id="5" name="Date Placeholder 4"/>
          <p:cNvSpPr>
            <a:spLocks noGrp="1"/>
          </p:cNvSpPr>
          <p:nvPr>
            <p:ph type="dt" sz="half" idx="10"/>
          </p:nvPr>
        </p:nvSpPr>
        <p:spPr/>
        <p:txBody>
          <a:bodyPr/>
          <a:lstStyle/>
          <a:p>
            <a:fld id="{684856C6-7794-4164-A751-DA4BA9882635}" type="datetimeFigureOut">
              <a:rPr lang="en-US" smtClean="0"/>
              <a:t>1/11/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077FC1F-C628-4B2E-82E8-CD169320BA55}" type="slidenum">
              <a:rPr lang="en-US" smtClean="0"/>
              <a:t>‹#›</a:t>
            </a:fld>
            <a:endParaRPr lang="en-US" dirty="0"/>
          </a:p>
        </p:txBody>
      </p:sp>
    </p:spTree>
    <p:extLst>
      <p:ext uri="{BB962C8B-B14F-4D97-AF65-F5344CB8AC3E}">
        <p14:creationId xmlns:p14="http://schemas.microsoft.com/office/powerpoint/2010/main" val="425195672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dirty="0" smtClean="0"/>
              <a:t>Click to edit Master title style</a:t>
            </a:r>
            <a:endParaRPr lang="en-US" dirty="0"/>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b-NO"/>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Edit Master text styles</a:t>
            </a:r>
          </a:p>
        </p:txBody>
      </p:sp>
      <p:sp>
        <p:nvSpPr>
          <p:cNvPr id="5" name="Date Placeholder 4"/>
          <p:cNvSpPr>
            <a:spLocks noGrp="1"/>
          </p:cNvSpPr>
          <p:nvPr>
            <p:ph type="dt" sz="half" idx="10"/>
          </p:nvPr>
        </p:nvSpPr>
        <p:spPr/>
        <p:txBody>
          <a:bodyPr/>
          <a:lstStyle/>
          <a:p>
            <a:fld id="{684856C6-7794-4164-A751-DA4BA9882635}" type="datetimeFigureOut">
              <a:rPr lang="en-US" smtClean="0"/>
              <a:t>1/11/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077FC1F-C628-4B2E-82E8-CD169320BA55}" type="slidenum">
              <a:rPr lang="en-US" smtClean="0"/>
              <a:t>‹#›</a:t>
            </a:fld>
            <a:endParaRPr lang="en-US" dirty="0"/>
          </a:p>
        </p:txBody>
      </p:sp>
    </p:spTree>
    <p:extLst>
      <p:ext uri="{BB962C8B-B14F-4D97-AF65-F5344CB8AC3E}">
        <p14:creationId xmlns:p14="http://schemas.microsoft.com/office/powerpoint/2010/main" val="16948008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vmlDrawing" Target="../drawings/vmlDrawing3.v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17" Type="http://schemas.openxmlformats.org/officeDocument/2006/relationships/image" Target="../media/image3.png"/><Relationship Id="rId2" Type="http://schemas.openxmlformats.org/officeDocument/2006/relationships/slideLayout" Target="../slideLayouts/slideLayout14.xml"/><Relationship Id="rId16" Type="http://schemas.openxmlformats.org/officeDocument/2006/relationships/image" Target="../media/image2.emf"/><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oleObject" Target="../embeddings/oleObject3.bin"/><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5"/>
            </p:custDataLst>
            <p:extLst>
              <p:ext uri="{D42A27DB-BD31-4B8C-83A1-F6EECF244321}">
                <p14:modId xmlns:p14="http://schemas.microsoft.com/office/powerpoint/2010/main" val="17415210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39" name="think-cell Slide" r:id="rId16" imgW="408" imgH="408" progId="TCLayout.ActiveDocument.1">
                  <p:embed/>
                </p:oleObj>
              </mc:Choice>
              <mc:Fallback>
                <p:oleObj name="think-cell Slide" r:id="rId16" imgW="408" imgH="408" progId="TCLayout.ActiveDocument.1">
                  <p:embed/>
                  <p:pic>
                    <p:nvPicPr>
                      <p:cNvPr id="0" name=""/>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84856C6-7794-4164-A751-DA4BA9882635}" type="datetimeFigureOut">
              <a:rPr lang="en-US" smtClean="0"/>
              <a:t>1/11/2017</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077FC1F-C628-4B2E-82E8-CD169320BA55}" type="slidenum">
              <a:rPr lang="en-US" smtClean="0"/>
              <a:t>‹#›</a:t>
            </a:fld>
            <a:endParaRPr lang="en-US" dirty="0"/>
          </a:p>
        </p:txBody>
      </p:sp>
    </p:spTree>
    <p:extLst>
      <p:ext uri="{BB962C8B-B14F-4D97-AF65-F5344CB8AC3E}">
        <p14:creationId xmlns:p14="http://schemas.microsoft.com/office/powerpoint/2010/main" val="226599638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4"/>
            </p:custDataLst>
            <p:extLst>
              <p:ext uri="{D42A27DB-BD31-4B8C-83A1-F6EECF244321}">
                <p14:modId xmlns:p14="http://schemas.microsoft.com/office/powerpoint/2010/main" val="177921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9229" name="think-cell Slide" r:id="rId15" imgW="270" imgH="270" progId="TCLayout.ActiveDocument.1">
                  <p:embed/>
                </p:oleObj>
              </mc:Choice>
              <mc:Fallback>
                <p:oleObj name="think-cell Slide" r:id="rId15" imgW="270" imgH="270" progId="TCLayout.ActiveDocument.1">
                  <p:embed/>
                  <p:pic>
                    <p:nvPicPr>
                      <p:cNvPr id="2" name="Object 1" hidden="1"/>
                      <p:cNvPicPr/>
                      <p:nvPr/>
                    </p:nvPicPr>
                    <p:blipFill>
                      <a:blip r:embed="rId16"/>
                      <a:stretch>
                        <a:fillRect/>
                      </a:stretch>
                    </p:blipFill>
                    <p:spPr>
                      <a:xfrm>
                        <a:off x="2118" y="1589"/>
                        <a:ext cx="2116" cy="1587"/>
                      </a:xfrm>
                      <a:prstGeom prst="rect">
                        <a:avLst/>
                      </a:prstGeom>
                    </p:spPr>
                  </p:pic>
                </p:oleObj>
              </mc:Fallback>
            </mc:AlternateContent>
          </a:graphicData>
        </a:graphic>
      </p:graphicFrame>
      <p:sp>
        <p:nvSpPr>
          <p:cNvPr id="1026" name="Rectangle 2"/>
          <p:cNvSpPr>
            <a:spLocks noGrp="1" noChangeArrowheads="1"/>
          </p:cNvSpPr>
          <p:nvPr>
            <p:ph type="body" idx="1"/>
          </p:nvPr>
        </p:nvSpPr>
        <p:spPr bwMode="auto">
          <a:xfrm>
            <a:off x="334434" y="1628775"/>
            <a:ext cx="11523133" cy="4248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2075" tIns="46038" rIns="92075" bIns="46038" numCol="1" anchor="t" anchorCtr="0" compatLnSpc="1">
            <a:prstTxWarp prst="textNoShape">
              <a:avLst/>
            </a:prstTxWarp>
          </a:bodyPr>
          <a:lstStyle/>
          <a:p>
            <a:pPr lvl="0"/>
            <a:r>
              <a:rPr lang="en-US" dirty="0" err="1" smtClean="0"/>
              <a:t>Klikk</a:t>
            </a:r>
            <a:r>
              <a:rPr lang="en-US" dirty="0" smtClean="0"/>
              <a:t> for å </a:t>
            </a:r>
            <a:r>
              <a:rPr lang="en-US" dirty="0" err="1" smtClean="0"/>
              <a:t>redigere</a:t>
            </a:r>
            <a:r>
              <a:rPr lang="en-US" dirty="0" smtClean="0"/>
              <a:t> </a:t>
            </a:r>
            <a:r>
              <a:rPr lang="en-US" dirty="0" err="1" smtClean="0"/>
              <a:t>tekststiler</a:t>
            </a:r>
            <a:r>
              <a:rPr lang="en-US" dirty="0" smtClean="0"/>
              <a:t> </a:t>
            </a:r>
            <a:r>
              <a:rPr lang="en-US" dirty="0" err="1" smtClean="0"/>
              <a:t>i</a:t>
            </a:r>
            <a:r>
              <a:rPr lang="en-US" dirty="0" smtClean="0"/>
              <a:t> </a:t>
            </a:r>
            <a:r>
              <a:rPr lang="en-US" dirty="0" err="1" smtClean="0"/>
              <a:t>malen</a:t>
            </a:r>
            <a:endParaRPr lang="en-US" dirty="0" smtClean="0"/>
          </a:p>
          <a:p>
            <a:pPr lvl="1"/>
            <a:r>
              <a:rPr lang="en-US" dirty="0" smtClean="0"/>
              <a:t>Andre </a:t>
            </a:r>
            <a:r>
              <a:rPr lang="en-US" dirty="0" err="1" smtClean="0"/>
              <a:t>nivå</a:t>
            </a:r>
            <a:endParaRPr lang="en-US" dirty="0" smtClean="0"/>
          </a:p>
          <a:p>
            <a:pPr lvl="2"/>
            <a:r>
              <a:rPr lang="en-US" dirty="0" err="1" smtClean="0"/>
              <a:t>Tredje</a:t>
            </a:r>
            <a:r>
              <a:rPr lang="en-US" dirty="0" smtClean="0"/>
              <a:t> </a:t>
            </a:r>
            <a:r>
              <a:rPr lang="en-US" dirty="0" err="1" smtClean="0"/>
              <a:t>nivå</a:t>
            </a:r>
            <a:endParaRPr lang="en-US" dirty="0" smtClean="0"/>
          </a:p>
        </p:txBody>
      </p:sp>
      <p:sp>
        <p:nvSpPr>
          <p:cNvPr id="1027" name="Rectangle 38"/>
          <p:cNvSpPr>
            <a:spLocks noChangeArrowheads="1"/>
          </p:cNvSpPr>
          <p:nvPr/>
        </p:nvSpPr>
        <p:spPr bwMode="auto">
          <a:xfrm>
            <a:off x="0" y="6308726"/>
            <a:ext cx="12192000" cy="549275"/>
          </a:xfrm>
          <a:prstGeom prst="rect">
            <a:avLst/>
          </a:prstGeom>
          <a:solidFill>
            <a:schemeClr val="tx1"/>
          </a:solidFill>
          <a:ln w="38100">
            <a:solidFill>
              <a:schemeClr val="bg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lvl1pPr>
              <a:defRPr sz="1000" b="1">
                <a:solidFill>
                  <a:schemeClr val="tx1"/>
                </a:solidFill>
                <a:latin typeface="Arial" panose="020B0604020202020204" pitchFamily="34" charset="0"/>
              </a:defRPr>
            </a:lvl1pPr>
            <a:lvl2pPr marL="742950" indent="-285750">
              <a:defRPr sz="1000" b="1">
                <a:solidFill>
                  <a:schemeClr val="tx1"/>
                </a:solidFill>
                <a:latin typeface="Arial" panose="020B0604020202020204" pitchFamily="34" charset="0"/>
              </a:defRPr>
            </a:lvl2pPr>
            <a:lvl3pPr marL="1143000" indent="-228600">
              <a:defRPr sz="1000" b="1">
                <a:solidFill>
                  <a:schemeClr val="tx1"/>
                </a:solidFill>
                <a:latin typeface="Arial" panose="020B0604020202020204" pitchFamily="34" charset="0"/>
              </a:defRPr>
            </a:lvl3pPr>
            <a:lvl4pPr marL="1600200" indent="-228600">
              <a:defRPr sz="1000" b="1">
                <a:solidFill>
                  <a:schemeClr val="tx1"/>
                </a:solidFill>
                <a:latin typeface="Arial" panose="020B0604020202020204" pitchFamily="34" charset="0"/>
              </a:defRPr>
            </a:lvl4pPr>
            <a:lvl5pPr marL="2057400" indent="-228600">
              <a:defRPr sz="1000" b="1">
                <a:solidFill>
                  <a:schemeClr val="tx1"/>
                </a:solidFill>
                <a:latin typeface="Arial" panose="020B0604020202020204" pitchFamily="34" charset="0"/>
              </a:defRPr>
            </a:lvl5pPr>
            <a:lvl6pPr marL="2514600" indent="-228600" algn="ctr" eaLnBrk="0" fontAlgn="base" hangingPunct="0">
              <a:lnSpc>
                <a:spcPct val="50000"/>
              </a:lnSpc>
              <a:spcBef>
                <a:spcPct val="50000"/>
              </a:spcBef>
              <a:spcAft>
                <a:spcPct val="0"/>
              </a:spcAft>
              <a:defRPr sz="1000" b="1">
                <a:solidFill>
                  <a:schemeClr val="tx1"/>
                </a:solidFill>
                <a:latin typeface="Arial" panose="020B0604020202020204" pitchFamily="34" charset="0"/>
              </a:defRPr>
            </a:lvl6pPr>
            <a:lvl7pPr marL="2971800" indent="-228600" algn="ctr" eaLnBrk="0" fontAlgn="base" hangingPunct="0">
              <a:lnSpc>
                <a:spcPct val="50000"/>
              </a:lnSpc>
              <a:spcBef>
                <a:spcPct val="50000"/>
              </a:spcBef>
              <a:spcAft>
                <a:spcPct val="0"/>
              </a:spcAft>
              <a:defRPr sz="1000" b="1">
                <a:solidFill>
                  <a:schemeClr val="tx1"/>
                </a:solidFill>
                <a:latin typeface="Arial" panose="020B0604020202020204" pitchFamily="34" charset="0"/>
              </a:defRPr>
            </a:lvl7pPr>
            <a:lvl8pPr marL="3429000" indent="-228600" algn="ctr" eaLnBrk="0" fontAlgn="base" hangingPunct="0">
              <a:lnSpc>
                <a:spcPct val="50000"/>
              </a:lnSpc>
              <a:spcBef>
                <a:spcPct val="50000"/>
              </a:spcBef>
              <a:spcAft>
                <a:spcPct val="0"/>
              </a:spcAft>
              <a:defRPr sz="1000" b="1">
                <a:solidFill>
                  <a:schemeClr val="tx1"/>
                </a:solidFill>
                <a:latin typeface="Arial" panose="020B0604020202020204" pitchFamily="34" charset="0"/>
              </a:defRPr>
            </a:lvl8pPr>
            <a:lvl9pPr marL="3886200" indent="-228600" algn="ctr" eaLnBrk="0" fontAlgn="base" hangingPunct="0">
              <a:lnSpc>
                <a:spcPct val="50000"/>
              </a:lnSpc>
              <a:spcBef>
                <a:spcPct val="50000"/>
              </a:spcBef>
              <a:spcAft>
                <a:spcPct val="0"/>
              </a:spcAft>
              <a:defRPr sz="1000" b="1">
                <a:solidFill>
                  <a:schemeClr val="tx1"/>
                </a:solidFill>
                <a:latin typeface="Arial" panose="020B0604020202020204" pitchFamily="34" charset="0"/>
              </a:defRPr>
            </a:lvl9pPr>
          </a:lstStyle>
          <a:p>
            <a:pPr algn="ctr" eaLnBrk="0" fontAlgn="base" hangingPunct="0">
              <a:lnSpc>
                <a:spcPct val="50000"/>
              </a:lnSpc>
              <a:spcBef>
                <a:spcPct val="50000"/>
              </a:spcBef>
              <a:spcAft>
                <a:spcPct val="0"/>
              </a:spcAft>
              <a:defRPr/>
            </a:pPr>
            <a:endParaRPr lang="en-US" dirty="0" smtClean="0">
              <a:solidFill>
                <a:srgbClr val="000000"/>
              </a:solidFill>
            </a:endParaRPr>
          </a:p>
        </p:txBody>
      </p:sp>
      <p:sp>
        <p:nvSpPr>
          <p:cNvPr id="1029" name="Rectangle 44"/>
          <p:cNvSpPr>
            <a:spLocks noGrp="1" noChangeArrowheads="1"/>
          </p:cNvSpPr>
          <p:nvPr>
            <p:ph type="title"/>
          </p:nvPr>
        </p:nvSpPr>
        <p:spPr bwMode="auto">
          <a:xfrm>
            <a:off x="334434" y="738581"/>
            <a:ext cx="11523133" cy="3139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0" tIns="0" rIns="0" bIns="0" numCol="1" anchor="b" anchorCtr="0" compatLnSpc="1">
            <a:prstTxWarp prst="textNoShape">
              <a:avLst/>
            </a:prstTxWarp>
            <a:spAutoFit/>
          </a:bodyPr>
          <a:lstStyle/>
          <a:p>
            <a:pPr lvl="0"/>
            <a:r>
              <a:rPr lang="en-US" dirty="0" err="1" smtClean="0"/>
              <a:t>Klikk</a:t>
            </a:r>
            <a:r>
              <a:rPr lang="en-US" dirty="0" smtClean="0"/>
              <a:t> for å </a:t>
            </a:r>
            <a:r>
              <a:rPr lang="en-US" dirty="0" err="1" smtClean="0"/>
              <a:t>redigere</a:t>
            </a:r>
            <a:r>
              <a:rPr lang="en-US" dirty="0" smtClean="0"/>
              <a:t> </a:t>
            </a:r>
            <a:r>
              <a:rPr lang="en-US" dirty="0" err="1" smtClean="0"/>
              <a:t>tittelstil</a:t>
            </a:r>
            <a:r>
              <a:rPr lang="en-US" dirty="0" smtClean="0"/>
              <a:t> </a:t>
            </a:r>
            <a:r>
              <a:rPr lang="en-US" dirty="0" err="1" smtClean="0"/>
              <a:t>i</a:t>
            </a:r>
            <a:r>
              <a:rPr lang="en-US" dirty="0" smtClean="0"/>
              <a:t> </a:t>
            </a:r>
            <a:r>
              <a:rPr lang="en-US" dirty="0" err="1" smtClean="0"/>
              <a:t>malen</a:t>
            </a:r>
            <a:endParaRPr lang="en-US" dirty="0" smtClean="0"/>
          </a:p>
        </p:txBody>
      </p:sp>
      <p:sp>
        <p:nvSpPr>
          <p:cNvPr id="7" name="TextBox 6"/>
          <p:cNvSpPr txBox="1"/>
          <p:nvPr userDrawn="1"/>
        </p:nvSpPr>
        <p:spPr>
          <a:xfrm>
            <a:off x="11771263" y="6595257"/>
            <a:ext cx="353568" cy="138499"/>
          </a:xfrm>
          <a:prstGeom prst="rect">
            <a:avLst/>
          </a:prstGeom>
          <a:noFill/>
          <a:ln w="6350">
            <a:noFill/>
            <a:miter lim="800000"/>
          </a:ln>
        </p:spPr>
        <p:txBody>
          <a:bodyPr wrap="none" lIns="0" tIns="0" rIns="0" bIns="0" rtlCol="0" anchor="b" anchorCtr="0">
            <a:noAutofit/>
          </a:bodyPr>
          <a:lstStyle/>
          <a:p>
            <a:pPr algn="r"/>
            <a:fld id="{6CE8C368-3382-4C28-AE75-DF7C05ACA19D}" type="slidenum">
              <a:rPr lang="en-US" sz="800">
                <a:solidFill>
                  <a:srgbClr val="FFFFFF"/>
                </a:solidFill>
                <a:latin typeface="Garamond"/>
              </a:rPr>
              <a:pPr algn="r"/>
              <a:t>‹#›</a:t>
            </a:fld>
            <a:endParaRPr lang="en-US" sz="800" dirty="0">
              <a:solidFill>
                <a:srgbClr val="FFFFFF"/>
              </a:solidFill>
              <a:latin typeface="Garamond"/>
            </a:endParaRPr>
          </a:p>
        </p:txBody>
      </p:sp>
      <p:pic>
        <p:nvPicPr>
          <p:cNvPr id="8" name="Picture 27" descr="BOS_hvit_logo"/>
          <p:cNvPicPr>
            <a:picLocks noChangeAspect="1" noChangeArrowheads="1"/>
          </p:cNvPicPr>
          <p:nvPr userDrawn="1"/>
        </p:nvPicPr>
        <p:blipFill>
          <a:blip r:embed="rId17" cstate="print">
            <a:extLst>
              <a:ext uri="{28A0092B-C50C-407E-A947-70E740481C1C}">
                <a14:useLocalDpi xmlns:a14="http://schemas.microsoft.com/office/drawing/2010/main" val="0"/>
              </a:ext>
            </a:extLst>
          </a:blip>
          <a:srcRect/>
          <a:stretch>
            <a:fillRect/>
          </a:stretch>
        </p:blipFill>
        <p:spPr bwMode="auto">
          <a:xfrm>
            <a:off x="10165292" y="6453969"/>
            <a:ext cx="1692275" cy="282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80670656"/>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ransition spd="slow"/>
  <p:timing>
    <p:tnLst>
      <p:par>
        <p:cTn id="1" dur="indefinite" restart="never" nodeType="tmRoot"/>
      </p:par>
    </p:tnLst>
  </p:timing>
  <p:txStyles>
    <p:titleStyle>
      <a:lvl1pPr algn="l" rtl="0" eaLnBrk="1" fontAlgn="base" hangingPunct="1">
        <a:lnSpc>
          <a:spcPct val="85000"/>
        </a:lnSpc>
        <a:spcBef>
          <a:spcPct val="0"/>
        </a:spcBef>
        <a:spcAft>
          <a:spcPct val="0"/>
        </a:spcAft>
        <a:defRPr kumimoji="1" sz="2400" b="1">
          <a:solidFill>
            <a:schemeClr val="tx2"/>
          </a:solidFill>
          <a:latin typeface="+mj-lt"/>
          <a:ea typeface="+mj-ea"/>
          <a:cs typeface="+mj-cs"/>
        </a:defRPr>
      </a:lvl1pPr>
      <a:lvl2pPr algn="l" rtl="0" eaLnBrk="1" fontAlgn="base" hangingPunct="1">
        <a:lnSpc>
          <a:spcPct val="85000"/>
        </a:lnSpc>
        <a:spcBef>
          <a:spcPct val="0"/>
        </a:spcBef>
        <a:spcAft>
          <a:spcPct val="0"/>
        </a:spcAft>
        <a:defRPr kumimoji="1" sz="2800" b="1">
          <a:solidFill>
            <a:schemeClr val="tx2"/>
          </a:solidFill>
          <a:latin typeface="Garamond" pitchFamily="18" charset="0"/>
        </a:defRPr>
      </a:lvl2pPr>
      <a:lvl3pPr algn="l" rtl="0" eaLnBrk="1" fontAlgn="base" hangingPunct="1">
        <a:lnSpc>
          <a:spcPct val="85000"/>
        </a:lnSpc>
        <a:spcBef>
          <a:spcPct val="0"/>
        </a:spcBef>
        <a:spcAft>
          <a:spcPct val="0"/>
        </a:spcAft>
        <a:defRPr kumimoji="1" sz="2800" b="1">
          <a:solidFill>
            <a:schemeClr val="tx2"/>
          </a:solidFill>
          <a:latin typeface="Garamond" pitchFamily="18" charset="0"/>
        </a:defRPr>
      </a:lvl3pPr>
      <a:lvl4pPr algn="l" rtl="0" eaLnBrk="1" fontAlgn="base" hangingPunct="1">
        <a:lnSpc>
          <a:spcPct val="85000"/>
        </a:lnSpc>
        <a:spcBef>
          <a:spcPct val="0"/>
        </a:spcBef>
        <a:spcAft>
          <a:spcPct val="0"/>
        </a:spcAft>
        <a:defRPr kumimoji="1" sz="2800" b="1">
          <a:solidFill>
            <a:schemeClr val="tx2"/>
          </a:solidFill>
          <a:latin typeface="Garamond" pitchFamily="18" charset="0"/>
        </a:defRPr>
      </a:lvl4pPr>
      <a:lvl5pPr algn="l" rtl="0" eaLnBrk="1" fontAlgn="base" hangingPunct="1">
        <a:lnSpc>
          <a:spcPct val="85000"/>
        </a:lnSpc>
        <a:spcBef>
          <a:spcPct val="0"/>
        </a:spcBef>
        <a:spcAft>
          <a:spcPct val="0"/>
        </a:spcAft>
        <a:defRPr kumimoji="1" sz="2800" b="1">
          <a:solidFill>
            <a:schemeClr val="tx2"/>
          </a:solidFill>
          <a:latin typeface="Garamond" pitchFamily="18" charset="0"/>
        </a:defRPr>
      </a:lvl5pPr>
      <a:lvl6pPr marL="457200" algn="l" rtl="0" eaLnBrk="1" fontAlgn="base" hangingPunct="1">
        <a:lnSpc>
          <a:spcPct val="85000"/>
        </a:lnSpc>
        <a:spcBef>
          <a:spcPct val="0"/>
        </a:spcBef>
        <a:spcAft>
          <a:spcPct val="0"/>
        </a:spcAft>
        <a:defRPr kumimoji="1" sz="2800" b="1">
          <a:solidFill>
            <a:schemeClr val="tx2"/>
          </a:solidFill>
          <a:latin typeface="Garamond" pitchFamily="18" charset="0"/>
        </a:defRPr>
      </a:lvl6pPr>
      <a:lvl7pPr marL="914400" algn="l" rtl="0" eaLnBrk="1" fontAlgn="base" hangingPunct="1">
        <a:lnSpc>
          <a:spcPct val="85000"/>
        </a:lnSpc>
        <a:spcBef>
          <a:spcPct val="0"/>
        </a:spcBef>
        <a:spcAft>
          <a:spcPct val="0"/>
        </a:spcAft>
        <a:defRPr kumimoji="1" sz="2800" b="1">
          <a:solidFill>
            <a:schemeClr val="tx2"/>
          </a:solidFill>
          <a:latin typeface="Garamond" pitchFamily="18" charset="0"/>
        </a:defRPr>
      </a:lvl7pPr>
      <a:lvl8pPr marL="1371600" algn="l" rtl="0" eaLnBrk="1" fontAlgn="base" hangingPunct="1">
        <a:lnSpc>
          <a:spcPct val="85000"/>
        </a:lnSpc>
        <a:spcBef>
          <a:spcPct val="0"/>
        </a:spcBef>
        <a:spcAft>
          <a:spcPct val="0"/>
        </a:spcAft>
        <a:defRPr kumimoji="1" sz="2800" b="1">
          <a:solidFill>
            <a:schemeClr val="tx2"/>
          </a:solidFill>
          <a:latin typeface="Garamond" pitchFamily="18" charset="0"/>
        </a:defRPr>
      </a:lvl8pPr>
      <a:lvl9pPr marL="1828800" algn="l" rtl="0" eaLnBrk="1" fontAlgn="base" hangingPunct="1">
        <a:lnSpc>
          <a:spcPct val="85000"/>
        </a:lnSpc>
        <a:spcBef>
          <a:spcPct val="0"/>
        </a:spcBef>
        <a:spcAft>
          <a:spcPct val="0"/>
        </a:spcAft>
        <a:defRPr kumimoji="1" sz="2800" b="1">
          <a:solidFill>
            <a:schemeClr val="tx2"/>
          </a:solidFill>
          <a:latin typeface="Garamond" pitchFamily="18" charset="0"/>
        </a:defRPr>
      </a:lvl9pPr>
    </p:titleStyle>
    <p:bodyStyle>
      <a:lvl1pPr marL="342900" indent="-342900" algn="l" rtl="0" eaLnBrk="1" fontAlgn="base" hangingPunct="1">
        <a:spcBef>
          <a:spcPct val="20000"/>
        </a:spcBef>
        <a:spcAft>
          <a:spcPct val="0"/>
        </a:spcAft>
        <a:buClr>
          <a:schemeClr val="tx1"/>
        </a:buClr>
        <a:buSzPct val="80000"/>
        <a:buFont typeface="Wingdings" pitchFamily="2" charset="2"/>
        <a:buChar char="ð"/>
        <a:defRPr kumimoji="1" sz="2000">
          <a:solidFill>
            <a:schemeClr val="tx1"/>
          </a:solidFill>
          <a:latin typeface="+mn-lt"/>
          <a:ea typeface="+mn-ea"/>
          <a:cs typeface="+mn-cs"/>
        </a:defRPr>
      </a:lvl1pPr>
      <a:lvl2pPr marL="742950" indent="-285750" algn="l" rtl="0" eaLnBrk="1" fontAlgn="base" hangingPunct="1">
        <a:spcBef>
          <a:spcPct val="20000"/>
        </a:spcBef>
        <a:spcAft>
          <a:spcPct val="0"/>
        </a:spcAft>
        <a:buClr>
          <a:schemeClr val="tx1"/>
        </a:buClr>
        <a:buFont typeface="Symbol" pitchFamily="18" charset="2"/>
        <a:buChar char="-"/>
        <a:defRPr kumimoji="1">
          <a:solidFill>
            <a:schemeClr val="tx1"/>
          </a:solidFill>
          <a:latin typeface="+mn-lt"/>
        </a:defRPr>
      </a:lvl2pPr>
      <a:lvl3pPr marL="1085850" indent="-228600" algn="l" rtl="0" eaLnBrk="1" fontAlgn="base" hangingPunct="1">
        <a:spcBef>
          <a:spcPct val="20000"/>
        </a:spcBef>
        <a:spcAft>
          <a:spcPct val="0"/>
        </a:spcAft>
        <a:buClr>
          <a:schemeClr val="tx1"/>
        </a:buClr>
        <a:buFont typeface="Symbol" pitchFamily="18" charset="2"/>
        <a:buChar char="-"/>
        <a:defRPr kumimoji="1" sz="1600">
          <a:solidFill>
            <a:schemeClr val="tx1"/>
          </a:solidFill>
          <a:latin typeface="+mn-lt"/>
        </a:defRPr>
      </a:lvl3pPr>
      <a:lvl4pPr marL="1428750" indent="-228600" algn="l" rtl="0" eaLnBrk="1" fontAlgn="base" hangingPunct="1">
        <a:spcBef>
          <a:spcPct val="20000"/>
        </a:spcBef>
        <a:spcAft>
          <a:spcPct val="0"/>
        </a:spcAft>
        <a:buClr>
          <a:schemeClr val="tx1"/>
        </a:buClr>
        <a:buFont typeface="Symbol" pitchFamily="18" charset="2"/>
        <a:buChar char="-"/>
        <a:defRPr kumimoji="1" sz="1400">
          <a:solidFill>
            <a:schemeClr val="tx1"/>
          </a:solidFill>
          <a:latin typeface="+mn-lt"/>
        </a:defRPr>
      </a:lvl4pPr>
      <a:lvl5pPr marL="1771650" indent="-228600" algn="l" rtl="0" eaLnBrk="1" fontAlgn="base" hangingPunct="1">
        <a:spcBef>
          <a:spcPct val="20000"/>
        </a:spcBef>
        <a:spcAft>
          <a:spcPct val="0"/>
        </a:spcAft>
        <a:buClr>
          <a:schemeClr val="tx1"/>
        </a:buClr>
        <a:buFont typeface="Symbol" pitchFamily="18" charset="2"/>
        <a:buChar char="-"/>
        <a:defRPr kumimoji="1" sz="1000">
          <a:solidFill>
            <a:schemeClr val="tx1"/>
          </a:solidFill>
          <a:latin typeface="+mn-lt"/>
        </a:defRPr>
      </a:lvl5pPr>
      <a:lvl6pPr marL="2228850" indent="-228600" algn="l" rtl="0" eaLnBrk="1" fontAlgn="base" hangingPunct="1">
        <a:spcBef>
          <a:spcPct val="20000"/>
        </a:spcBef>
        <a:spcAft>
          <a:spcPct val="0"/>
        </a:spcAft>
        <a:buClr>
          <a:schemeClr val="tx1"/>
        </a:buClr>
        <a:buFont typeface="Symbol" pitchFamily="18" charset="2"/>
        <a:buChar char="-"/>
        <a:defRPr kumimoji="1" sz="1000">
          <a:solidFill>
            <a:schemeClr val="tx1"/>
          </a:solidFill>
          <a:latin typeface="+mn-lt"/>
        </a:defRPr>
      </a:lvl6pPr>
      <a:lvl7pPr marL="2686050" indent="-228600" algn="l" rtl="0" eaLnBrk="1" fontAlgn="base" hangingPunct="1">
        <a:spcBef>
          <a:spcPct val="20000"/>
        </a:spcBef>
        <a:spcAft>
          <a:spcPct val="0"/>
        </a:spcAft>
        <a:buClr>
          <a:schemeClr val="tx1"/>
        </a:buClr>
        <a:buFont typeface="Symbol" pitchFamily="18" charset="2"/>
        <a:buChar char="-"/>
        <a:defRPr kumimoji="1" sz="1000">
          <a:solidFill>
            <a:schemeClr val="tx1"/>
          </a:solidFill>
          <a:latin typeface="+mn-lt"/>
        </a:defRPr>
      </a:lvl7pPr>
      <a:lvl8pPr marL="3143250" indent="-228600" algn="l" rtl="0" eaLnBrk="1" fontAlgn="base" hangingPunct="1">
        <a:spcBef>
          <a:spcPct val="20000"/>
        </a:spcBef>
        <a:spcAft>
          <a:spcPct val="0"/>
        </a:spcAft>
        <a:buClr>
          <a:schemeClr val="tx1"/>
        </a:buClr>
        <a:buFont typeface="Symbol" pitchFamily="18" charset="2"/>
        <a:buChar char="-"/>
        <a:defRPr kumimoji="1" sz="1000">
          <a:solidFill>
            <a:schemeClr val="tx1"/>
          </a:solidFill>
          <a:latin typeface="+mn-lt"/>
        </a:defRPr>
      </a:lvl8pPr>
      <a:lvl9pPr marL="3600450" indent="-228600" algn="l" rtl="0" eaLnBrk="1" fontAlgn="base" hangingPunct="1">
        <a:spcBef>
          <a:spcPct val="20000"/>
        </a:spcBef>
        <a:spcAft>
          <a:spcPct val="0"/>
        </a:spcAft>
        <a:buClr>
          <a:schemeClr val="tx1"/>
        </a:buClr>
        <a:buFont typeface="Symbol" pitchFamily="18" charset="2"/>
        <a:buChar char="-"/>
        <a:defRPr kumimoji="1" sz="1000">
          <a:solidFill>
            <a:schemeClr val="tx1"/>
          </a:solidFill>
          <a:latin typeface="+mn-lt"/>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12.xml"/><Relationship Id="rId7" Type="http://schemas.openxmlformats.org/officeDocument/2006/relationships/image" Target="../media/image7.jpe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6.emf"/><Relationship Id="rId5" Type="http://schemas.openxmlformats.org/officeDocument/2006/relationships/oleObject" Target="../embeddings/oleObject7.bin"/><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image" Target="../media/image8.jpeg"/><Relationship Id="rId7" Type="http://schemas.openxmlformats.org/officeDocument/2006/relationships/image" Target="../media/image12.jpeg"/><Relationship Id="rId2" Type="http://schemas.openxmlformats.org/officeDocument/2006/relationships/notesSlide" Target="../notesSlides/notesSlide2.xml"/><Relationship Id="rId1" Type="http://schemas.openxmlformats.org/officeDocument/2006/relationships/slideLayout" Target="../slideLayouts/slideLayout14.xml"/><Relationship Id="rId6" Type="http://schemas.openxmlformats.org/officeDocument/2006/relationships/image" Target="../media/image11.png"/><Relationship Id="rId5" Type="http://schemas.openxmlformats.org/officeDocument/2006/relationships/image" Target="../media/image10.jpeg"/><Relationship Id="rId10" Type="http://schemas.openxmlformats.org/officeDocument/2006/relationships/image" Target="../media/image15.png"/><Relationship Id="rId4" Type="http://schemas.openxmlformats.org/officeDocument/2006/relationships/image" Target="../media/image9.png"/><Relationship Id="rId9" Type="http://schemas.openxmlformats.org/officeDocument/2006/relationships/image" Target="../media/image14.jpeg"/></Relationships>
</file>

<file path=ppt/slides/_rels/slide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14.xml"/><Relationship Id="rId5" Type="http://schemas.microsoft.com/office/2007/relationships/hdphoto" Target="../media/hdphoto1.wdp"/><Relationship Id="rId4" Type="http://schemas.openxmlformats.org/officeDocument/2006/relationships/image" Target="../media/image17.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7.xml"/><Relationship Id="rId7" Type="http://schemas.openxmlformats.org/officeDocument/2006/relationships/image" Target="../media/image20.pn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9.png"/><Relationship Id="rId5" Type="http://schemas.openxmlformats.org/officeDocument/2006/relationships/image" Target="../media/image18.emf"/><Relationship Id="rId4" Type="http://schemas.openxmlformats.org/officeDocument/2006/relationships/oleObject" Target="../embeddings/oleObject8.bin"/></Relationships>
</file>

<file path=ppt/slides/_rels/slide5.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slideLayout" Target="../slideLayouts/slideLayout14.xml"/><Relationship Id="rId7" Type="http://schemas.openxmlformats.org/officeDocument/2006/relationships/image" Target="../media/image21.pn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4.emf"/><Relationship Id="rId5" Type="http://schemas.openxmlformats.org/officeDocument/2006/relationships/oleObject" Target="../embeddings/oleObject9.bin"/><Relationship Id="rId10" Type="http://schemas.openxmlformats.org/officeDocument/2006/relationships/image" Target="../media/image23.jpeg"/><Relationship Id="rId4" Type="http://schemas.openxmlformats.org/officeDocument/2006/relationships/notesSlide" Target="../notesSlides/notesSlide4.xml"/><Relationship Id="rId9" Type="http://schemas.microsoft.com/office/2007/relationships/hdphoto" Target="../media/hdphoto2.wdp"/></Relationships>
</file>

<file path=ppt/slides/_rels/slide6.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notesSlide" Target="../notesSlides/notesSlide5.xml"/><Relationship Id="rId1" Type="http://schemas.openxmlformats.org/officeDocument/2006/relationships/slideLayout" Target="../slideLayouts/slideLayout14.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6.xml"/><Relationship Id="rId1" Type="http://schemas.openxmlformats.org/officeDocument/2006/relationships/slideLayout" Target="../slideLayouts/slideLayout23.xml"/><Relationship Id="rId4" Type="http://schemas.openxmlformats.org/officeDocument/2006/relationships/image" Target="../media/image1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0265840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1"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2" name="iStock_000084289745_Double.jpg"/>
          <p:cNvPicPr>
            <a:picLocks noChangeAspect="1"/>
          </p:cNvPicPr>
          <p:nvPr/>
        </p:nvPicPr>
        <p:blipFill>
          <a:blip r:embed="rId7">
            <a:extLst/>
          </a:blip>
          <a:stretch>
            <a:fillRect/>
          </a:stretch>
        </p:blipFill>
        <p:spPr>
          <a:xfrm flipH="1">
            <a:off x="0" y="-1240021"/>
            <a:ext cx="12221980" cy="8128001"/>
          </a:xfrm>
          <a:prstGeom prst="rect">
            <a:avLst/>
          </a:prstGeom>
          <a:ln w="12700">
            <a:miter lim="400000"/>
          </a:ln>
        </p:spPr>
      </p:pic>
      <p:sp>
        <p:nvSpPr>
          <p:cNvPr id="8" name="TextBox 7"/>
          <p:cNvSpPr txBox="1"/>
          <p:nvPr/>
        </p:nvSpPr>
        <p:spPr>
          <a:xfrm>
            <a:off x="-194872" y="4227227"/>
            <a:ext cx="12636708" cy="2788170"/>
          </a:xfrm>
          <a:prstGeom prst="rect">
            <a:avLst/>
          </a:prstGeom>
          <a:solidFill>
            <a:schemeClr val="bg1">
              <a:lumMod val="50000"/>
              <a:alpha val="67000"/>
            </a:schemeClr>
          </a:solidFill>
          <a:ln>
            <a:noFill/>
          </a:ln>
          <a:effectLst>
            <a:softEdge rad="63500"/>
          </a:effectLst>
        </p:spPr>
        <p:txBody>
          <a:bodyPr wrap="square" tIns="108000" rtlCol="0">
            <a:noAutofit/>
          </a:bodyPr>
          <a:lstStyle/>
          <a:p>
            <a:pPr marL="269875" marR="0" lvl="0" algn="l" defTabSz="914400" rtl="0" eaLnBrk="1" fontAlgn="auto" latinLnBrk="0" hangingPunct="1">
              <a:lnSpc>
                <a:spcPct val="90000"/>
              </a:lnSpc>
              <a:spcBef>
                <a:spcPts val="200"/>
              </a:spcBef>
              <a:spcAft>
                <a:spcPts val="0"/>
              </a:spcAft>
              <a:buClrTx/>
              <a:buSzPct val="80000"/>
              <a:buFontTx/>
              <a:buNone/>
              <a:tabLst/>
              <a:defRPr/>
            </a:pPr>
            <a:r>
              <a:rPr kumimoji="0" lang="en-US" sz="3600" b="1" i="0" u="none" strike="noStrike" kern="1200" cap="none" spc="0" normalizeH="0" baseline="0" noProof="0" dirty="0" smtClean="0">
                <a:ln>
                  <a:noFill/>
                </a:ln>
                <a:solidFill>
                  <a:srgbClr val="FFFFFF">
                    <a:lumMod val="95000"/>
                  </a:srgbClr>
                </a:solidFill>
                <a:effectLst/>
                <a:uLnTx/>
                <a:uFillTx/>
                <a:latin typeface="Arial"/>
              </a:rPr>
              <a:t>Bertel O. Steen AS </a:t>
            </a:r>
            <a:r>
              <a:rPr lang="en-US" sz="2800" b="1" dirty="0" smtClean="0">
                <a:solidFill>
                  <a:srgbClr val="FFFFFF">
                    <a:lumMod val="95000"/>
                  </a:srgbClr>
                </a:solidFill>
                <a:latin typeface="Arial"/>
              </a:rPr>
              <a:t/>
            </a:r>
            <a:br>
              <a:rPr lang="en-US" sz="2800" b="1" dirty="0" smtClean="0">
                <a:solidFill>
                  <a:srgbClr val="FFFFFF">
                    <a:lumMod val="95000"/>
                  </a:srgbClr>
                </a:solidFill>
                <a:latin typeface="Arial"/>
              </a:rPr>
            </a:br>
            <a:r>
              <a:rPr lang="en-US" sz="2800" b="1" dirty="0" smtClean="0">
                <a:solidFill>
                  <a:srgbClr val="FFFFFF">
                    <a:lumMod val="95000"/>
                  </a:srgbClr>
                </a:solidFill>
                <a:latin typeface="Arial"/>
              </a:rPr>
              <a:t>Ruter Supplier Conference </a:t>
            </a:r>
          </a:p>
          <a:p>
            <a:pPr marL="269875" marR="0" lvl="0" algn="l" defTabSz="914400" rtl="0" eaLnBrk="1" fontAlgn="auto" latinLnBrk="0" hangingPunct="1">
              <a:lnSpc>
                <a:spcPct val="90000"/>
              </a:lnSpc>
              <a:spcBef>
                <a:spcPts val="200"/>
              </a:spcBef>
              <a:spcAft>
                <a:spcPts val="0"/>
              </a:spcAft>
              <a:buClrTx/>
              <a:buSzPct val="80000"/>
              <a:buFontTx/>
              <a:buNone/>
              <a:tabLst/>
              <a:defRPr/>
            </a:pPr>
            <a:r>
              <a:rPr kumimoji="0" lang="en-US" sz="2800" b="1" i="0" u="none" strike="noStrike" kern="1200" cap="none" spc="0" normalizeH="0" baseline="0" noProof="0" dirty="0" smtClean="0">
                <a:ln>
                  <a:noFill/>
                </a:ln>
                <a:solidFill>
                  <a:srgbClr val="FFFFFF">
                    <a:lumMod val="95000"/>
                  </a:srgbClr>
                </a:solidFill>
                <a:effectLst/>
                <a:uLnTx/>
                <a:uFillTx/>
                <a:latin typeface="Arial"/>
              </a:rPr>
              <a:t>12.01.17</a:t>
            </a:r>
          </a:p>
          <a:p>
            <a:pPr marL="269875" marR="0" lvl="0" algn="l" defTabSz="914400" rtl="0" eaLnBrk="1" fontAlgn="auto" latinLnBrk="0" hangingPunct="1">
              <a:lnSpc>
                <a:spcPct val="90000"/>
              </a:lnSpc>
              <a:spcBef>
                <a:spcPts val="200"/>
              </a:spcBef>
              <a:spcAft>
                <a:spcPts val="0"/>
              </a:spcAft>
              <a:buClrTx/>
              <a:buSzPct val="80000"/>
              <a:buFontTx/>
              <a:buNone/>
              <a:tabLst/>
              <a:defRPr/>
            </a:pPr>
            <a:endParaRPr kumimoji="0" lang="en-US" sz="3600" b="1" i="0" u="none" strike="noStrike" kern="1200" cap="none" spc="0" normalizeH="0" baseline="0" noProof="0" dirty="0" smtClean="0">
              <a:ln>
                <a:noFill/>
              </a:ln>
              <a:solidFill>
                <a:srgbClr val="FFFFFF">
                  <a:lumMod val="95000"/>
                </a:srgbClr>
              </a:solidFill>
              <a:effectLst/>
              <a:uLnTx/>
              <a:uFillTx/>
              <a:latin typeface="Arial"/>
            </a:endParaRPr>
          </a:p>
          <a:p>
            <a:pPr marL="269875" marR="0" lvl="0" algn="l" defTabSz="914400" rtl="0" eaLnBrk="1" fontAlgn="auto" latinLnBrk="0" hangingPunct="1">
              <a:lnSpc>
                <a:spcPct val="90000"/>
              </a:lnSpc>
              <a:spcBef>
                <a:spcPts val="200"/>
              </a:spcBef>
              <a:spcAft>
                <a:spcPts val="0"/>
              </a:spcAft>
              <a:buClrTx/>
              <a:buSzPct val="80000"/>
              <a:buFontTx/>
              <a:buNone/>
              <a:tabLst/>
              <a:defRPr/>
            </a:pPr>
            <a:r>
              <a:rPr kumimoji="0" lang="en-US" sz="2000" b="1" i="0" u="none" strike="noStrike" kern="1200" cap="none" spc="0" normalizeH="0" baseline="0" noProof="0" dirty="0" smtClean="0">
                <a:ln>
                  <a:noFill/>
                </a:ln>
                <a:solidFill>
                  <a:srgbClr val="FFFFFF">
                    <a:lumMod val="95000"/>
                  </a:srgbClr>
                </a:solidFill>
                <a:effectLst/>
                <a:uLnTx/>
                <a:uFillTx/>
                <a:latin typeface="Arial"/>
              </a:rPr>
              <a:t>Are Knutsen</a:t>
            </a:r>
          </a:p>
          <a:p>
            <a:pPr marL="269875" marR="0" lvl="0" algn="l" defTabSz="914400" rtl="0" eaLnBrk="1" fontAlgn="auto" latinLnBrk="0" hangingPunct="1">
              <a:lnSpc>
                <a:spcPct val="90000"/>
              </a:lnSpc>
              <a:spcBef>
                <a:spcPts val="200"/>
              </a:spcBef>
              <a:spcAft>
                <a:spcPts val="0"/>
              </a:spcAft>
              <a:buClrTx/>
              <a:buSzPct val="80000"/>
              <a:buFontTx/>
              <a:buNone/>
              <a:tabLst/>
              <a:defRPr/>
            </a:pPr>
            <a:r>
              <a:rPr lang="en-US" sz="2000" b="1" dirty="0" smtClean="0">
                <a:solidFill>
                  <a:srgbClr val="FFFFFF">
                    <a:lumMod val="95000"/>
                  </a:srgbClr>
                </a:solidFill>
                <a:latin typeface="Arial"/>
              </a:rPr>
              <a:t>Strategy &amp; Business Development</a:t>
            </a:r>
            <a:endParaRPr kumimoji="0" lang="en-US" sz="2000" b="1" i="0" u="none" strike="noStrike" kern="1200" cap="none" spc="0" normalizeH="0" baseline="0" noProof="0" dirty="0">
              <a:ln>
                <a:noFill/>
              </a:ln>
              <a:solidFill>
                <a:srgbClr val="FFFFFF">
                  <a:lumMod val="95000"/>
                </a:srgbClr>
              </a:solidFill>
              <a:effectLst/>
              <a:uLnTx/>
              <a:uFillTx/>
              <a:latin typeface="Arial"/>
            </a:endParaRPr>
          </a:p>
        </p:txBody>
      </p:sp>
      <p:pic>
        <p:nvPicPr>
          <p:cNvPr id="13" name="Picture 27" descr="BOS_hvit_logo"/>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728585" y="5471410"/>
            <a:ext cx="4266614" cy="712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93339913"/>
      </p:ext>
    </p:extLst>
  </p:cSld>
  <p:clrMapOvr>
    <a:masterClrMapping/>
  </p:clrMapOvr>
  <p:transition spd="slow"/>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Content Placeholder 3"/>
          <p:cNvPicPr>
            <a:picLocks noChangeAspect="1"/>
          </p:cNvPicPr>
          <p:nvPr/>
        </p:nvPicPr>
        <p:blipFill>
          <a:blip r:embed="rId3" cstate="print">
            <a:alphaModFix amt="20000"/>
            <a:extLst>
              <a:ext uri="{28A0092B-C50C-407E-A947-70E740481C1C}">
                <a14:useLocalDpi xmlns:a14="http://schemas.microsoft.com/office/drawing/2010/main" val="0"/>
              </a:ext>
            </a:extLst>
          </a:blip>
          <a:stretch>
            <a:fillRect/>
          </a:stretch>
        </p:blipFill>
        <p:spPr bwMode="auto">
          <a:xfrm>
            <a:off x="-97341" y="-2016445"/>
            <a:ext cx="12328250" cy="9677333"/>
          </a:xfrm>
          <a:prstGeom prst="rect">
            <a:avLst/>
          </a:prstGeom>
          <a:solidFill>
            <a:schemeClr val="bg1">
              <a:alpha val="23000"/>
            </a:schemeClr>
          </a:solidFill>
          <a:ln w="12700">
            <a:noFill/>
            <a:miter lim="400000"/>
          </a:ln>
          <a:effectLst/>
          <a:extLst>
            <a:ext uri="{C572A759-6A51-4108-AA02-DFA0A04FC94B}">
              <ma14:wrappingTextBoxFlag xmlns:ma14="http://schemas.microsoft.com/office/mac/drawingml/2011/main" xmlns="" val="1"/>
            </a:ext>
          </a:extLst>
        </p:spPr>
      </p:pic>
      <p:pic>
        <p:nvPicPr>
          <p:cNvPr id="12" name="Picture 11"/>
          <p:cNvPicPr>
            <a:picLocks noChangeAspect="1"/>
          </p:cNvPicPr>
          <p:nvPr/>
        </p:nvPicPr>
        <p:blipFill rotWithShape="1">
          <a:blip r:embed="rId4">
            <a:alphaModFix amt="20000"/>
          </a:blip>
          <a:srcRect l="14238" t="10878" r="13168" b="13279"/>
          <a:stretch/>
        </p:blipFill>
        <p:spPr>
          <a:xfrm flipH="1">
            <a:off x="-68241" y="-95534"/>
            <a:ext cx="12299147" cy="7014950"/>
          </a:xfrm>
          <a:prstGeom prst="rect">
            <a:avLst/>
          </a:prstGeom>
        </p:spPr>
      </p:pic>
      <p:sp>
        <p:nvSpPr>
          <p:cNvPr id="2" name="Title 1"/>
          <p:cNvSpPr>
            <a:spLocks noGrp="1"/>
          </p:cNvSpPr>
          <p:nvPr>
            <p:ph type="title"/>
          </p:nvPr>
        </p:nvSpPr>
        <p:spPr>
          <a:xfrm>
            <a:off x="360001" y="530140"/>
            <a:ext cx="11523133" cy="837152"/>
          </a:xfrm>
        </p:spPr>
        <p:txBody>
          <a:bodyPr anchor="t">
            <a:noAutofit/>
          </a:bodyPr>
          <a:lstStyle/>
          <a:p>
            <a:r>
              <a:rPr lang="nb-NO" sz="2800" b="1" noProof="0" dirty="0" smtClean="0">
                <a:effectLst>
                  <a:outerShdw blurRad="38100" dist="38100" dir="2700000" algn="tl">
                    <a:srgbClr val="000000">
                      <a:alpha val="43137"/>
                    </a:srgbClr>
                  </a:outerShdw>
                </a:effectLst>
                <a:latin typeface="Helvetica" charset="0"/>
                <a:ea typeface="Helvetica" charset="0"/>
                <a:cs typeface="Helvetica" charset="0"/>
              </a:rPr>
              <a:t>Bertel O. Steen </a:t>
            </a:r>
            <a:r>
              <a:rPr lang="nb-NO" sz="2800" noProof="0" dirty="0" smtClean="0">
                <a:effectLst>
                  <a:outerShdw blurRad="38100" dist="38100" dir="2700000" algn="tl">
                    <a:srgbClr val="000000">
                      <a:alpha val="43137"/>
                    </a:srgbClr>
                  </a:outerShdw>
                </a:effectLst>
                <a:latin typeface="Helvetica" charset="0"/>
                <a:ea typeface="Helvetica" charset="0"/>
                <a:cs typeface="Helvetica" charset="0"/>
              </a:rPr>
              <a:t>– </a:t>
            </a:r>
            <a:r>
              <a:rPr lang="nb-NO" sz="2800" noProof="0" dirty="0" err="1" smtClean="0">
                <a:effectLst>
                  <a:outerShdw blurRad="38100" dist="38100" dir="2700000" algn="tl">
                    <a:srgbClr val="000000">
                      <a:alpha val="43137"/>
                    </a:srgbClr>
                  </a:outerShdw>
                </a:effectLst>
                <a:latin typeface="Helvetica" charset="0"/>
                <a:ea typeface="Helvetica" charset="0"/>
                <a:cs typeface="Helvetica" charset="0"/>
              </a:rPr>
              <a:t>we</a:t>
            </a:r>
            <a:r>
              <a:rPr lang="nb-NO" sz="2800" noProof="0" dirty="0" smtClean="0">
                <a:effectLst>
                  <a:outerShdw blurRad="38100" dist="38100" dir="2700000" algn="tl">
                    <a:srgbClr val="000000">
                      <a:alpha val="43137"/>
                    </a:srgbClr>
                  </a:outerShdw>
                </a:effectLst>
                <a:latin typeface="Helvetica" charset="0"/>
                <a:ea typeface="Helvetica" charset="0"/>
                <a:cs typeface="Helvetica" charset="0"/>
              </a:rPr>
              <a:t> have for </a:t>
            </a:r>
            <a:r>
              <a:rPr lang="nb-NO" sz="2800" noProof="0" dirty="0" err="1" smtClean="0">
                <a:effectLst>
                  <a:outerShdw blurRad="38100" dist="38100" dir="2700000" algn="tl">
                    <a:srgbClr val="000000">
                      <a:alpha val="43137"/>
                    </a:srgbClr>
                  </a:outerShdw>
                </a:effectLst>
                <a:latin typeface="Helvetica" charset="0"/>
                <a:ea typeface="Helvetica" charset="0"/>
                <a:cs typeface="Helvetica" charset="0"/>
              </a:rPr>
              <a:t>many</a:t>
            </a:r>
            <a:r>
              <a:rPr lang="nb-NO" sz="2800" noProof="0" dirty="0" smtClean="0">
                <a:effectLst>
                  <a:outerShdw blurRad="38100" dist="38100" dir="2700000" algn="tl">
                    <a:srgbClr val="000000">
                      <a:alpha val="43137"/>
                    </a:srgbClr>
                  </a:outerShdw>
                </a:effectLst>
                <a:latin typeface="Helvetica" charset="0"/>
                <a:ea typeface="Helvetica" charset="0"/>
                <a:cs typeface="Helvetica" charset="0"/>
              </a:rPr>
              <a:t> </a:t>
            </a:r>
            <a:r>
              <a:rPr lang="nb-NO" sz="2800" noProof="0" dirty="0" err="1" smtClean="0">
                <a:effectLst>
                  <a:outerShdw blurRad="38100" dist="38100" dir="2700000" algn="tl">
                    <a:srgbClr val="000000">
                      <a:alpha val="43137"/>
                    </a:srgbClr>
                  </a:outerShdw>
                </a:effectLst>
                <a:latin typeface="Helvetica" charset="0"/>
                <a:ea typeface="Helvetica" charset="0"/>
                <a:cs typeface="Helvetica" charset="0"/>
              </a:rPr>
              <a:t>years</a:t>
            </a:r>
            <a:r>
              <a:rPr lang="nb-NO" sz="2800" noProof="0" dirty="0" smtClean="0">
                <a:effectLst>
                  <a:outerShdw blurRad="38100" dist="38100" dir="2700000" algn="tl">
                    <a:srgbClr val="000000">
                      <a:alpha val="43137"/>
                    </a:srgbClr>
                  </a:outerShdw>
                </a:effectLst>
                <a:latin typeface="Helvetica" charset="0"/>
                <a:ea typeface="Helvetica" charset="0"/>
                <a:cs typeface="Helvetica" charset="0"/>
              </a:rPr>
              <a:t> </a:t>
            </a:r>
            <a:r>
              <a:rPr lang="nb-NO" sz="2800" noProof="0" dirty="0" err="1" smtClean="0">
                <a:effectLst>
                  <a:outerShdw blurRad="38100" dist="38100" dir="2700000" algn="tl">
                    <a:srgbClr val="000000">
                      <a:alpha val="43137"/>
                    </a:srgbClr>
                  </a:outerShdw>
                </a:effectLst>
                <a:latin typeface="Helvetica" charset="0"/>
                <a:ea typeface="Helvetica" charset="0"/>
                <a:cs typeface="Helvetica" charset="0"/>
              </a:rPr>
              <a:t>been</a:t>
            </a:r>
            <a:r>
              <a:rPr lang="nb-NO" sz="2800" noProof="0" dirty="0" smtClean="0">
                <a:effectLst>
                  <a:outerShdw blurRad="38100" dist="38100" dir="2700000" algn="tl">
                    <a:srgbClr val="000000">
                      <a:alpha val="43137"/>
                    </a:srgbClr>
                  </a:outerShdw>
                </a:effectLst>
                <a:latin typeface="Helvetica" charset="0"/>
                <a:ea typeface="Helvetica" charset="0"/>
                <a:cs typeface="Helvetica" charset="0"/>
              </a:rPr>
              <a:t> an </a:t>
            </a:r>
            <a:r>
              <a:rPr lang="nb-NO" sz="2800" noProof="0" dirty="0" err="1" smtClean="0">
                <a:effectLst>
                  <a:outerShdw blurRad="38100" dist="38100" dir="2700000" algn="tl">
                    <a:srgbClr val="000000">
                      <a:alpha val="43137"/>
                    </a:srgbClr>
                  </a:outerShdw>
                </a:effectLst>
                <a:latin typeface="Helvetica" charset="0"/>
                <a:ea typeface="Helvetica" charset="0"/>
                <a:cs typeface="Helvetica" charset="0"/>
              </a:rPr>
              <a:t>important</a:t>
            </a:r>
            <a:r>
              <a:rPr lang="nb-NO" sz="2800" noProof="0" dirty="0" smtClean="0">
                <a:effectLst>
                  <a:outerShdw blurRad="38100" dist="38100" dir="2700000" algn="tl">
                    <a:srgbClr val="000000">
                      <a:alpha val="43137"/>
                    </a:srgbClr>
                  </a:outerShdw>
                </a:effectLst>
                <a:latin typeface="Helvetica" charset="0"/>
                <a:ea typeface="Helvetica" charset="0"/>
                <a:cs typeface="Helvetica" charset="0"/>
              </a:rPr>
              <a:t> part of </a:t>
            </a:r>
            <a:r>
              <a:rPr lang="nb-NO" sz="2800" noProof="0" dirty="0" err="1" smtClean="0">
                <a:effectLst>
                  <a:outerShdw blurRad="38100" dist="38100" dir="2700000" algn="tl">
                    <a:srgbClr val="000000">
                      <a:alpha val="43137"/>
                    </a:srgbClr>
                  </a:outerShdw>
                </a:effectLst>
                <a:latin typeface="Helvetica" charset="0"/>
                <a:ea typeface="Helvetica" charset="0"/>
                <a:cs typeface="Helvetica" charset="0"/>
              </a:rPr>
              <a:t>transportation</a:t>
            </a:r>
            <a:r>
              <a:rPr lang="nb-NO" sz="2800" noProof="0" dirty="0" smtClean="0">
                <a:effectLst>
                  <a:outerShdw blurRad="38100" dist="38100" dir="2700000" algn="tl">
                    <a:srgbClr val="000000">
                      <a:alpha val="43137"/>
                    </a:srgbClr>
                  </a:outerShdw>
                </a:effectLst>
                <a:latin typeface="Helvetica" charset="0"/>
                <a:ea typeface="Helvetica" charset="0"/>
                <a:cs typeface="Helvetica" charset="0"/>
              </a:rPr>
              <a:t> in Norway, and </a:t>
            </a:r>
            <a:r>
              <a:rPr lang="nb-NO" sz="2800" noProof="0" dirty="0" err="1" smtClean="0">
                <a:effectLst>
                  <a:outerShdw blurRad="38100" dist="38100" dir="2700000" algn="tl">
                    <a:srgbClr val="000000">
                      <a:alpha val="43137"/>
                    </a:srgbClr>
                  </a:outerShdw>
                </a:effectLst>
                <a:latin typeface="Helvetica" charset="0"/>
                <a:ea typeface="Helvetica" charset="0"/>
                <a:cs typeface="Helvetica" charset="0"/>
              </a:rPr>
              <a:t>intend</a:t>
            </a:r>
            <a:r>
              <a:rPr lang="nb-NO" sz="2800" noProof="0" dirty="0" smtClean="0">
                <a:effectLst>
                  <a:outerShdw blurRad="38100" dist="38100" dir="2700000" algn="tl">
                    <a:srgbClr val="000000">
                      <a:alpha val="43137"/>
                    </a:srgbClr>
                  </a:outerShdw>
                </a:effectLst>
                <a:latin typeface="Helvetica" charset="0"/>
                <a:ea typeface="Helvetica" charset="0"/>
                <a:cs typeface="Helvetica" charset="0"/>
              </a:rPr>
              <a:t> to </a:t>
            </a:r>
            <a:r>
              <a:rPr lang="nb-NO" sz="2800" noProof="0" dirty="0" err="1" smtClean="0">
                <a:effectLst>
                  <a:outerShdw blurRad="38100" dist="38100" dir="2700000" algn="tl">
                    <a:srgbClr val="000000">
                      <a:alpha val="43137"/>
                    </a:srgbClr>
                  </a:outerShdw>
                </a:effectLst>
                <a:latin typeface="Helvetica" charset="0"/>
                <a:ea typeface="Helvetica" charset="0"/>
                <a:cs typeface="Helvetica" charset="0"/>
              </a:rPr>
              <a:t>also</a:t>
            </a:r>
            <a:r>
              <a:rPr lang="nb-NO" sz="2800" noProof="0" dirty="0" smtClean="0">
                <a:effectLst>
                  <a:outerShdw blurRad="38100" dist="38100" dir="2700000" algn="tl">
                    <a:srgbClr val="000000">
                      <a:alpha val="43137"/>
                    </a:srgbClr>
                  </a:outerShdw>
                </a:effectLst>
                <a:latin typeface="Helvetica" charset="0"/>
                <a:ea typeface="Helvetica" charset="0"/>
                <a:cs typeface="Helvetica" charset="0"/>
              </a:rPr>
              <a:t> be for </a:t>
            </a:r>
            <a:r>
              <a:rPr lang="nb-NO" sz="2800" noProof="0" dirty="0" err="1" smtClean="0">
                <a:effectLst>
                  <a:outerShdw blurRad="38100" dist="38100" dir="2700000" algn="tl">
                    <a:srgbClr val="000000">
                      <a:alpha val="43137"/>
                    </a:srgbClr>
                  </a:outerShdw>
                </a:effectLst>
                <a:latin typeface="Helvetica" charset="0"/>
                <a:ea typeface="Helvetica" charset="0"/>
                <a:cs typeface="Helvetica" charset="0"/>
              </a:rPr>
              <a:t>the</a:t>
            </a:r>
            <a:r>
              <a:rPr lang="nb-NO" sz="2800" noProof="0" dirty="0" smtClean="0">
                <a:effectLst>
                  <a:outerShdw blurRad="38100" dist="38100" dir="2700000" algn="tl">
                    <a:srgbClr val="000000">
                      <a:alpha val="43137"/>
                    </a:srgbClr>
                  </a:outerShdw>
                </a:effectLst>
                <a:latin typeface="Helvetica" charset="0"/>
                <a:ea typeface="Helvetica" charset="0"/>
                <a:cs typeface="Helvetica" charset="0"/>
              </a:rPr>
              <a:t> </a:t>
            </a:r>
            <a:r>
              <a:rPr lang="nb-NO" sz="2800" noProof="0" dirty="0" err="1" smtClean="0">
                <a:effectLst>
                  <a:outerShdw blurRad="38100" dist="38100" dir="2700000" algn="tl">
                    <a:srgbClr val="000000">
                      <a:alpha val="43137"/>
                    </a:srgbClr>
                  </a:outerShdw>
                </a:effectLst>
                <a:latin typeface="Helvetica" charset="0"/>
                <a:ea typeface="Helvetica" charset="0"/>
                <a:cs typeface="Helvetica" charset="0"/>
              </a:rPr>
              <a:t>future</a:t>
            </a:r>
            <a:endParaRPr lang="nb-NO" sz="2800" noProof="0" dirty="0">
              <a:effectLst>
                <a:outerShdw blurRad="38100" dist="38100" dir="2700000" algn="tl">
                  <a:srgbClr val="000000">
                    <a:alpha val="43137"/>
                  </a:srgbClr>
                </a:outerShdw>
              </a:effectLst>
              <a:latin typeface="Helvetica" charset="0"/>
              <a:ea typeface="Helvetica" charset="0"/>
              <a:cs typeface="Helvetica" charset="0"/>
            </a:endParaRPr>
          </a:p>
        </p:txBody>
      </p:sp>
      <p:pic>
        <p:nvPicPr>
          <p:cNvPr id="4" name="Content Placeholder 3"/>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3416056" y="1730384"/>
            <a:ext cx="2459852" cy="1930915"/>
          </a:xfrm>
          <a:ln w="12700">
            <a:solidFill>
              <a:schemeClr val="tx1"/>
            </a:solidFill>
          </a:ln>
          <a:effectLst>
            <a:outerShdw blurRad="50800" dist="76200" dir="2700000" algn="tl" rotWithShape="0">
              <a:prstClr val="black">
                <a:alpha val="10000"/>
              </a:prstClr>
            </a:outerShdw>
          </a:effectLst>
        </p:spPr>
      </p:pic>
      <p:pic>
        <p:nvPicPr>
          <p:cNvPr id="6" name="Picture 5"/>
          <p:cNvPicPr>
            <a:picLocks noChangeAspect="1"/>
          </p:cNvPicPr>
          <p:nvPr/>
        </p:nvPicPr>
        <p:blipFill rotWithShape="1">
          <a:blip r:embed="rId5" cstate="print">
            <a:extLst>
              <a:ext uri="{28A0092B-C50C-407E-A947-70E740481C1C}">
                <a14:useLocalDpi xmlns:a14="http://schemas.microsoft.com/office/drawing/2010/main" val="0"/>
              </a:ext>
            </a:extLst>
          </a:blip>
          <a:srcRect l="5355"/>
          <a:stretch/>
        </p:blipFill>
        <p:spPr>
          <a:xfrm>
            <a:off x="1551140" y="3740591"/>
            <a:ext cx="4324768" cy="2296846"/>
          </a:xfrm>
          <a:prstGeom prst="rect">
            <a:avLst/>
          </a:prstGeom>
          <a:ln w="12700">
            <a:solidFill>
              <a:schemeClr val="tx1"/>
            </a:solidFill>
          </a:ln>
          <a:effectLst>
            <a:outerShdw blurRad="50800" dist="76200" dir="2700000" algn="tl" rotWithShape="0">
              <a:prstClr val="black">
                <a:alpha val="10000"/>
              </a:prstClr>
            </a:outerShdw>
          </a:effectLst>
        </p:spPr>
      </p:pic>
      <p:pic>
        <p:nvPicPr>
          <p:cNvPr id="8" name="Picture 11" descr="Copyright checked by PS"/>
          <p:cNvPicPr>
            <a:picLocks noChangeAspect="1" noChangeArrowheads="1"/>
          </p:cNvPicPr>
          <p:nvPr/>
        </p:nvPicPr>
        <p:blipFill rotWithShape="1">
          <a:blip r:embed="rId6">
            <a:extLst>
              <a:ext uri="{28A0092B-C50C-407E-A947-70E740481C1C}">
                <a14:useLocalDpi xmlns:a14="http://schemas.microsoft.com/office/drawing/2010/main" val="0"/>
              </a:ext>
            </a:extLst>
          </a:blip>
          <a:srcRect r="1596"/>
          <a:stretch/>
        </p:blipFill>
        <p:spPr bwMode="auto">
          <a:xfrm>
            <a:off x="1551140" y="1730976"/>
            <a:ext cx="1737966" cy="1930322"/>
          </a:xfrm>
          <a:prstGeom prst="rect">
            <a:avLst/>
          </a:prstGeom>
          <a:noFill/>
          <a:ln w="12700">
            <a:solidFill>
              <a:schemeClr val="tx1"/>
            </a:solidFill>
            <a:miter lim="800000"/>
            <a:headEnd/>
            <a:tailEnd/>
          </a:ln>
          <a:effectLst>
            <a:outerShdw blurRad="50800" dist="76200" dir="2700000" algn="tl" rotWithShape="0">
              <a:prstClr val="black">
                <a:alpha val="10000"/>
              </a:prstClr>
            </a:outerShdw>
          </a:effectLst>
          <a:extLst>
            <a:ext uri="{909E8E84-426E-40DD-AFC4-6F175D3DCCD1}">
              <a14:hiddenFill xmlns:a14="http://schemas.microsoft.com/office/drawing/2010/main">
                <a:solidFill>
                  <a:schemeClr val="accent1"/>
                </a:solidFill>
              </a14:hiddenFill>
            </a:ext>
          </a:extLst>
        </p:spPr>
      </p:pic>
      <p:grpSp>
        <p:nvGrpSpPr>
          <p:cNvPr id="3" name="Group 2"/>
          <p:cNvGrpSpPr/>
          <p:nvPr/>
        </p:nvGrpSpPr>
        <p:grpSpPr>
          <a:xfrm>
            <a:off x="6002858" y="1733729"/>
            <a:ext cx="4606488" cy="4303709"/>
            <a:chOff x="6044422" y="1733728"/>
            <a:chExt cx="4606488" cy="4303709"/>
          </a:xfrm>
          <a:effectLst>
            <a:outerShdw blurRad="50800" dist="76200" dir="2700000" algn="tl" rotWithShape="0">
              <a:prstClr val="black">
                <a:alpha val="10000"/>
              </a:prstClr>
            </a:outerShdw>
          </a:effectLst>
        </p:grpSpPr>
        <p:pic>
          <p:nvPicPr>
            <p:cNvPr id="5" name="Picture 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044422" y="1733728"/>
              <a:ext cx="2364904" cy="1938415"/>
            </a:xfrm>
            <a:prstGeom prst="rect">
              <a:avLst/>
            </a:prstGeom>
            <a:ln w="12700">
              <a:solidFill>
                <a:schemeClr val="tx1"/>
              </a:solidFill>
            </a:ln>
          </p:spPr>
        </p:pic>
        <p:pic>
          <p:nvPicPr>
            <p:cNvPr id="7" name="Picture 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536276" y="1733728"/>
              <a:ext cx="2114634" cy="1934665"/>
            </a:xfrm>
            <a:prstGeom prst="rect">
              <a:avLst/>
            </a:prstGeom>
            <a:ln w="12700">
              <a:solidFill>
                <a:schemeClr val="tx1"/>
              </a:solidFill>
            </a:ln>
          </p:spPr>
        </p:pic>
        <p:pic>
          <p:nvPicPr>
            <p:cNvPr id="9" name="Picture 8"/>
            <p:cNvPicPr>
              <a:picLocks noChangeAspect="1"/>
            </p:cNvPicPr>
            <p:nvPr/>
          </p:nvPicPr>
          <p:blipFill rotWithShape="1">
            <a:blip r:embed="rId9" cstate="print">
              <a:extLst>
                <a:ext uri="{28A0092B-C50C-407E-A947-70E740481C1C}">
                  <a14:useLocalDpi xmlns:a14="http://schemas.microsoft.com/office/drawing/2010/main" val="0"/>
                </a:ext>
              </a:extLst>
            </a:blip>
            <a:srcRect t="5214" b="13420"/>
            <a:stretch/>
          </p:blipFill>
          <p:spPr>
            <a:xfrm>
              <a:off x="6044422" y="3751436"/>
              <a:ext cx="4606488" cy="2286001"/>
            </a:xfrm>
            <a:prstGeom prst="rect">
              <a:avLst/>
            </a:prstGeom>
            <a:ln w="12700">
              <a:solidFill>
                <a:schemeClr val="tx1"/>
              </a:solidFill>
            </a:ln>
          </p:spPr>
        </p:pic>
      </p:grpSp>
      <p:grpSp>
        <p:nvGrpSpPr>
          <p:cNvPr id="13" name="Group 440"/>
          <p:cNvGrpSpPr/>
          <p:nvPr/>
        </p:nvGrpSpPr>
        <p:grpSpPr>
          <a:xfrm>
            <a:off x="-11222" y="6244220"/>
            <a:ext cx="12242858" cy="635001"/>
            <a:chOff x="0" y="0"/>
            <a:chExt cx="24485714" cy="1270000"/>
          </a:xfrm>
        </p:grpSpPr>
        <p:sp>
          <p:nvSpPr>
            <p:cNvPr id="14" name="Shape 438"/>
            <p:cNvSpPr/>
            <p:nvPr/>
          </p:nvSpPr>
          <p:spPr>
            <a:xfrm>
              <a:off x="0" y="0"/>
              <a:ext cx="24485715" cy="1270000"/>
            </a:xfrm>
            <a:prstGeom prst="rect">
              <a:avLst/>
            </a:prstGeom>
            <a:solidFill>
              <a:srgbClr val="000000">
                <a:alpha val="64644"/>
              </a:srgbClr>
            </a:solidFill>
            <a:ln w="12700" cap="flat">
              <a:noFill/>
              <a:miter lim="400000"/>
            </a:ln>
            <a:effectLst/>
          </p:spPr>
          <p:txBody>
            <a:bodyPr wrap="square" lIns="25400" tIns="25400" rIns="25400" bIns="25400" numCol="1" anchor="ctr">
              <a:noAutofit/>
            </a:bodyPr>
            <a:lstStyle/>
            <a:p>
              <a:pPr algn="ctr" defTabSz="412750" hangingPunct="0">
                <a:defRPr sz="3600"/>
              </a:pPr>
              <a:endParaRPr kern="0">
                <a:solidFill>
                  <a:srgbClr val="FFFFFF"/>
                </a:solidFill>
                <a:latin typeface="Helvetica Light"/>
                <a:sym typeface="Helvetica Light"/>
              </a:endParaRPr>
            </a:p>
          </p:txBody>
        </p:sp>
        <p:pic>
          <p:nvPicPr>
            <p:cNvPr id="15" name="bertel o streen logo hvit.ai"/>
            <p:cNvPicPr>
              <a:picLocks noChangeAspect="1"/>
            </p:cNvPicPr>
            <p:nvPr/>
          </p:nvPicPr>
          <p:blipFill>
            <a:blip r:embed="rId10">
              <a:extLst/>
            </a:blip>
            <a:stretch>
              <a:fillRect/>
            </a:stretch>
          </p:blipFill>
          <p:spPr>
            <a:xfrm>
              <a:off x="17685128" y="153369"/>
              <a:ext cx="5724445" cy="963263"/>
            </a:xfrm>
            <a:prstGeom prst="rect">
              <a:avLst/>
            </a:prstGeom>
            <a:ln w="12700" cap="flat">
              <a:noFill/>
              <a:miter lim="400000"/>
            </a:ln>
            <a:effectLst/>
          </p:spPr>
        </p:pic>
      </p:grpSp>
    </p:spTree>
    <p:extLst>
      <p:ext uri="{BB962C8B-B14F-4D97-AF65-F5344CB8AC3E}">
        <p14:creationId xmlns:p14="http://schemas.microsoft.com/office/powerpoint/2010/main" val="3566067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4434" y="416762"/>
            <a:ext cx="11523133" cy="635751"/>
          </a:xfrm>
        </p:spPr>
        <p:txBody>
          <a:bodyPr/>
          <a:lstStyle/>
          <a:p>
            <a:r>
              <a:rPr lang="nb-NO" noProof="0" dirty="0" err="1" smtClean="0"/>
              <a:t>We</a:t>
            </a:r>
            <a:r>
              <a:rPr lang="nb-NO" noProof="0" dirty="0" smtClean="0"/>
              <a:t> </a:t>
            </a:r>
            <a:r>
              <a:rPr lang="nb-NO" noProof="0" dirty="0" err="1" smtClean="0"/>
              <a:t>see</a:t>
            </a:r>
            <a:r>
              <a:rPr lang="nb-NO" noProof="0" dirty="0" smtClean="0"/>
              <a:t> 4 </a:t>
            </a:r>
            <a:r>
              <a:rPr lang="nb-NO" noProof="0" dirty="0" err="1" smtClean="0"/>
              <a:t>key</a:t>
            </a:r>
            <a:r>
              <a:rPr lang="nb-NO" noProof="0" dirty="0" smtClean="0"/>
              <a:t> trends for </a:t>
            </a:r>
            <a:r>
              <a:rPr lang="nb-NO" noProof="0" dirty="0" err="1" smtClean="0"/>
              <a:t>our</a:t>
            </a:r>
            <a:r>
              <a:rPr lang="nb-NO" noProof="0" dirty="0" smtClean="0"/>
              <a:t> </a:t>
            </a:r>
            <a:r>
              <a:rPr lang="nb-NO" noProof="0" dirty="0" err="1" smtClean="0"/>
              <a:t>industy</a:t>
            </a:r>
            <a:r>
              <a:rPr lang="nb-NO" noProof="0" dirty="0" smtClean="0"/>
              <a:t> – </a:t>
            </a:r>
            <a:r>
              <a:rPr lang="nb-NO" noProof="0" dirty="0" err="1" smtClean="0"/>
              <a:t>Electrification</a:t>
            </a:r>
            <a:r>
              <a:rPr lang="nb-NO" noProof="0" dirty="0" smtClean="0"/>
              <a:t>, </a:t>
            </a:r>
            <a:r>
              <a:rPr lang="nb-NO" noProof="0" dirty="0" err="1" smtClean="0"/>
              <a:t>Connectivty</a:t>
            </a:r>
            <a:r>
              <a:rPr lang="nb-NO" noProof="0" dirty="0" smtClean="0"/>
              <a:t>, </a:t>
            </a:r>
            <a:r>
              <a:rPr lang="nb-NO" noProof="0" dirty="0" err="1" smtClean="0"/>
              <a:t>Autonomous</a:t>
            </a:r>
            <a:r>
              <a:rPr lang="nb-NO" noProof="0" dirty="0" smtClean="0"/>
              <a:t> driving and mobility </a:t>
            </a:r>
            <a:endParaRPr lang="nb-NO" noProof="0" dirty="0"/>
          </a:p>
        </p:txBody>
      </p:sp>
      <p:sp>
        <p:nvSpPr>
          <p:cNvPr id="4" name="Rectangle 3"/>
          <p:cNvSpPr/>
          <p:nvPr/>
        </p:nvSpPr>
        <p:spPr bwMode="auto">
          <a:xfrm>
            <a:off x="334434" y="2367241"/>
            <a:ext cx="2575574" cy="2123518"/>
          </a:xfrm>
          <a:prstGeom prst="rect">
            <a:avLst/>
          </a:prstGeom>
          <a:solidFill>
            <a:schemeClr val="tx2"/>
          </a:solidFill>
          <a:ln w="6350">
            <a:noFill/>
          </a:ln>
          <a:effectLst/>
          <a:extLst/>
        </p:spPr>
        <p:txBody>
          <a:bodyPr lIns="144000" tIns="108000" rIns="108000" bIns="108000" rtlCol="0" anchor="t"/>
          <a:lstStyle/>
          <a:p>
            <a:pPr marL="0" marR="0" lvl="0" indent="0" algn="ctr" defTabSz="642938" rtl="0" eaLnBrk="0" fontAlgn="auto" latinLnBrk="0" hangingPunct="0">
              <a:lnSpc>
                <a:spcPct val="100000"/>
              </a:lnSpc>
              <a:spcBef>
                <a:spcPct val="0"/>
              </a:spcBef>
              <a:spcAft>
                <a:spcPts val="0"/>
              </a:spcAft>
              <a:buClrTx/>
              <a:buSzTx/>
              <a:buFontTx/>
              <a:buNone/>
              <a:tabLst/>
              <a:defRPr/>
            </a:pPr>
            <a:r>
              <a:rPr lang="en-US" sz="2000" b="1" dirty="0" smtClean="0">
                <a:solidFill>
                  <a:srgbClr val="FFFFFF"/>
                </a:solidFill>
                <a:latin typeface="Arial"/>
              </a:rPr>
              <a:t>Electrification</a:t>
            </a:r>
            <a:endParaRPr kumimoji="0" lang="en-US" sz="2000" b="1" i="0" u="none" strike="noStrike" kern="1200" cap="none" spc="0" normalizeH="0" baseline="0" dirty="0">
              <a:ln>
                <a:noFill/>
              </a:ln>
              <a:solidFill>
                <a:srgbClr val="FFFFFF"/>
              </a:solidFill>
              <a:effectLst/>
              <a:uLnTx/>
              <a:uFillTx/>
              <a:latin typeface="Arial"/>
            </a:endParaRPr>
          </a:p>
        </p:txBody>
      </p:sp>
      <p:sp>
        <p:nvSpPr>
          <p:cNvPr id="7" name="Rectangle 6"/>
          <p:cNvSpPr/>
          <p:nvPr/>
        </p:nvSpPr>
        <p:spPr bwMode="auto">
          <a:xfrm>
            <a:off x="3358278" y="2367241"/>
            <a:ext cx="2575574" cy="2123518"/>
          </a:xfrm>
          <a:prstGeom prst="rect">
            <a:avLst/>
          </a:prstGeom>
          <a:solidFill>
            <a:schemeClr val="accent4"/>
          </a:solidFill>
          <a:ln w="6350">
            <a:noFill/>
          </a:ln>
          <a:effectLst/>
          <a:extLst/>
        </p:spPr>
        <p:txBody>
          <a:bodyPr lIns="144000" tIns="108000" rIns="108000" bIns="108000" rtlCol="0" anchor="t"/>
          <a:lstStyle/>
          <a:p>
            <a:pPr marL="0" marR="0" lvl="0" indent="0" algn="ctr" defTabSz="642938" rtl="0" eaLnBrk="0" fontAlgn="auto" latinLnBrk="0" hangingPunct="0">
              <a:lnSpc>
                <a:spcPct val="100000"/>
              </a:lnSpc>
              <a:spcBef>
                <a:spcPct val="0"/>
              </a:spcBef>
              <a:spcAft>
                <a:spcPts val="0"/>
              </a:spcAft>
              <a:buClrTx/>
              <a:buSzTx/>
              <a:buFontTx/>
              <a:buNone/>
              <a:tabLst/>
              <a:defRPr/>
            </a:pPr>
            <a:r>
              <a:rPr kumimoji="0" lang="en-US" sz="2000" b="1" i="0" u="none" strike="noStrike" kern="1200" cap="none" spc="0" normalizeH="0" baseline="0" dirty="0" smtClean="0">
                <a:ln>
                  <a:noFill/>
                </a:ln>
                <a:solidFill>
                  <a:srgbClr val="FFFFFF"/>
                </a:solidFill>
                <a:effectLst/>
                <a:uLnTx/>
                <a:uFillTx/>
                <a:latin typeface="Arial"/>
                <a:ea typeface="+mn-ea"/>
                <a:cs typeface="+mn-cs"/>
              </a:rPr>
              <a:t>Connectivity</a:t>
            </a:r>
            <a:endParaRPr kumimoji="0" lang="en-US" sz="2000" b="1" i="0" u="none" strike="noStrike" kern="1200" cap="none" spc="0" normalizeH="0" baseline="0" dirty="0">
              <a:ln>
                <a:noFill/>
              </a:ln>
              <a:solidFill>
                <a:srgbClr val="FFFFFF"/>
              </a:solidFill>
              <a:effectLst/>
              <a:uLnTx/>
              <a:uFillTx/>
              <a:latin typeface="Arial"/>
              <a:ea typeface="+mn-ea"/>
              <a:cs typeface="+mn-cs"/>
            </a:endParaRPr>
          </a:p>
        </p:txBody>
      </p:sp>
      <p:sp>
        <p:nvSpPr>
          <p:cNvPr id="8" name="Rectangle 7"/>
          <p:cNvSpPr/>
          <p:nvPr/>
        </p:nvSpPr>
        <p:spPr bwMode="auto">
          <a:xfrm>
            <a:off x="9299982" y="2360143"/>
            <a:ext cx="2575574" cy="2123518"/>
          </a:xfrm>
          <a:prstGeom prst="rect">
            <a:avLst/>
          </a:prstGeom>
          <a:solidFill>
            <a:schemeClr val="accent2"/>
          </a:solidFill>
          <a:ln w="6350">
            <a:noFill/>
          </a:ln>
          <a:effectLst/>
          <a:extLst/>
        </p:spPr>
        <p:txBody>
          <a:bodyPr lIns="144000" tIns="108000" rIns="108000" bIns="108000" rtlCol="0" anchor="t"/>
          <a:lstStyle/>
          <a:p>
            <a:pPr marL="0" marR="0" lvl="0" indent="0" algn="ctr" defTabSz="642938" rtl="0" eaLnBrk="0" fontAlgn="auto" latinLnBrk="0" hangingPunct="0">
              <a:lnSpc>
                <a:spcPct val="100000"/>
              </a:lnSpc>
              <a:spcBef>
                <a:spcPct val="0"/>
              </a:spcBef>
              <a:spcAft>
                <a:spcPts val="0"/>
              </a:spcAft>
              <a:buClrTx/>
              <a:buSzTx/>
              <a:buFontTx/>
              <a:buNone/>
              <a:tabLst/>
              <a:defRPr/>
            </a:pPr>
            <a:r>
              <a:rPr lang="en-US" sz="2000" b="1" dirty="0" smtClean="0">
                <a:solidFill>
                  <a:srgbClr val="FFFFFF"/>
                </a:solidFill>
                <a:latin typeface="Arial"/>
              </a:rPr>
              <a:t>Mobility</a:t>
            </a:r>
            <a:endParaRPr kumimoji="0" lang="en-US" sz="2000" b="1" i="0" u="none" strike="noStrike" kern="1200" cap="none" spc="0" normalizeH="0" baseline="0" dirty="0">
              <a:ln>
                <a:noFill/>
              </a:ln>
              <a:solidFill>
                <a:srgbClr val="FFFFFF"/>
              </a:solidFill>
              <a:effectLst/>
              <a:uLnTx/>
              <a:uFillTx/>
              <a:latin typeface="Arial"/>
            </a:endParaRPr>
          </a:p>
        </p:txBody>
      </p:sp>
      <p:pic>
        <p:nvPicPr>
          <p:cNvPr id="25" name="Picture 24"/>
          <p:cNvPicPr>
            <a:picLocks noChangeAspect="1"/>
          </p:cNvPicPr>
          <p:nvPr/>
        </p:nvPicPr>
        <p:blipFill>
          <a:blip r:embed="rId3">
            <a:clrChange>
              <a:clrFrom>
                <a:srgbClr val="000000"/>
              </a:clrFrom>
              <a:clrTo>
                <a:srgbClr val="000000">
                  <a:alpha val="0"/>
                </a:srgbClr>
              </a:clrTo>
            </a:clrChange>
          </a:blip>
          <a:stretch>
            <a:fillRect/>
          </a:stretch>
        </p:blipFill>
        <p:spPr>
          <a:xfrm>
            <a:off x="9864835" y="3114889"/>
            <a:ext cx="1427470" cy="969204"/>
          </a:xfrm>
          <a:prstGeom prst="rect">
            <a:avLst/>
          </a:prstGeom>
        </p:spPr>
      </p:pic>
      <p:sp>
        <p:nvSpPr>
          <p:cNvPr id="6" name="Rectangle 5"/>
          <p:cNvSpPr/>
          <p:nvPr/>
        </p:nvSpPr>
        <p:spPr bwMode="auto">
          <a:xfrm>
            <a:off x="6355601" y="2367241"/>
            <a:ext cx="2575574" cy="2123518"/>
          </a:xfrm>
          <a:prstGeom prst="rect">
            <a:avLst/>
          </a:prstGeom>
          <a:solidFill>
            <a:schemeClr val="accent6">
              <a:lumMod val="50000"/>
            </a:schemeClr>
          </a:solidFill>
          <a:ln w="6350">
            <a:solidFill>
              <a:schemeClr val="tx2">
                <a:lumMod val="40000"/>
                <a:lumOff val="60000"/>
              </a:schemeClr>
            </a:solidFill>
          </a:ln>
          <a:effectLst/>
          <a:extLst/>
        </p:spPr>
        <p:txBody>
          <a:bodyPr lIns="144000" tIns="108000" rIns="108000" bIns="108000" rtlCol="0" anchor="t"/>
          <a:lstStyle/>
          <a:p>
            <a:pPr marL="0" marR="0" lvl="0" indent="0" algn="ctr" defTabSz="642938" rtl="0" eaLnBrk="0" fontAlgn="auto" latinLnBrk="0" hangingPunct="0">
              <a:lnSpc>
                <a:spcPct val="100000"/>
              </a:lnSpc>
              <a:spcBef>
                <a:spcPct val="0"/>
              </a:spcBef>
              <a:spcAft>
                <a:spcPts val="0"/>
              </a:spcAft>
              <a:buClrTx/>
              <a:buSzTx/>
              <a:buFontTx/>
              <a:buNone/>
              <a:tabLst/>
              <a:defRPr/>
            </a:pPr>
            <a:r>
              <a:rPr kumimoji="0" lang="en-US" sz="2000" b="1" i="0" u="none" strike="noStrike" kern="1200" cap="none" spc="0" normalizeH="0" baseline="0" dirty="0" smtClean="0">
                <a:ln>
                  <a:noFill/>
                </a:ln>
                <a:solidFill>
                  <a:srgbClr val="FFFFFF"/>
                </a:solidFill>
                <a:effectLst/>
                <a:uLnTx/>
                <a:uFillTx/>
                <a:latin typeface="Arial"/>
                <a:ea typeface="+mn-ea"/>
                <a:cs typeface="+mn-cs"/>
              </a:rPr>
              <a:t>Autonomy</a:t>
            </a:r>
            <a:endParaRPr kumimoji="0" lang="en-US" sz="2000" b="1" i="0" u="none" strike="noStrike" kern="1200" cap="none" spc="0" normalizeH="0" baseline="0" dirty="0">
              <a:ln>
                <a:noFill/>
              </a:ln>
              <a:solidFill>
                <a:srgbClr val="FFFFFF"/>
              </a:solidFill>
              <a:effectLst/>
              <a:uLnTx/>
              <a:uFillTx/>
              <a:latin typeface="Arial"/>
              <a:ea typeface="+mn-ea"/>
              <a:cs typeface="+mn-cs"/>
            </a:endParaRPr>
          </a:p>
        </p:txBody>
      </p:sp>
      <p:grpSp>
        <p:nvGrpSpPr>
          <p:cNvPr id="20" name="Group 216"/>
          <p:cNvGrpSpPr>
            <a:grpSpLocks noChangeAspect="1"/>
          </p:cNvGrpSpPr>
          <p:nvPr/>
        </p:nvGrpSpPr>
        <p:grpSpPr bwMode="auto">
          <a:xfrm>
            <a:off x="1134658" y="3095352"/>
            <a:ext cx="923157" cy="1066354"/>
            <a:chOff x="-7844" y="-1863"/>
            <a:chExt cx="6217" cy="7179"/>
          </a:xfrm>
        </p:grpSpPr>
        <p:sp>
          <p:nvSpPr>
            <p:cNvPr id="31" name="Freeform 217"/>
            <p:cNvSpPr>
              <a:spLocks noChangeAspect="1"/>
            </p:cNvSpPr>
            <p:nvPr/>
          </p:nvSpPr>
          <p:spPr bwMode="auto">
            <a:xfrm>
              <a:off x="-6696" y="-1863"/>
              <a:ext cx="4131" cy="7179"/>
            </a:xfrm>
            <a:custGeom>
              <a:avLst/>
              <a:gdLst>
                <a:gd name="T0" fmla="*/ 1915 w 4131"/>
                <a:gd name="T1" fmla="*/ 0 h 7179"/>
                <a:gd name="T2" fmla="*/ 4131 w 4131"/>
                <a:gd name="T3" fmla="*/ 0 h 7179"/>
                <a:gd name="T4" fmla="*/ 2194 w 4131"/>
                <a:gd name="T5" fmla="*/ 2771 h 7179"/>
                <a:gd name="T6" fmla="*/ 4107 w 4131"/>
                <a:gd name="T7" fmla="*/ 2771 h 7179"/>
                <a:gd name="T8" fmla="*/ 623 w 4131"/>
                <a:gd name="T9" fmla="*/ 7179 h 7179"/>
                <a:gd name="T10" fmla="*/ 2099 w 4131"/>
                <a:gd name="T11" fmla="*/ 4155 h 7179"/>
                <a:gd name="T12" fmla="*/ 0 w 4131"/>
                <a:gd name="T13" fmla="*/ 4155 h 7179"/>
                <a:gd name="T14" fmla="*/ 1915 w 4131"/>
                <a:gd name="T15" fmla="*/ 0 h 7179"/>
                <a:gd name="T16" fmla="*/ 0 60000 65536"/>
                <a:gd name="T17" fmla="*/ 0 60000 65536"/>
                <a:gd name="T18" fmla="*/ 0 60000 65536"/>
                <a:gd name="T19" fmla="*/ 0 60000 65536"/>
                <a:gd name="T20" fmla="*/ 0 60000 65536"/>
                <a:gd name="T21" fmla="*/ 0 60000 65536"/>
                <a:gd name="T22" fmla="*/ 0 60000 65536"/>
                <a:gd name="T23" fmla="*/ 0 60000 65536"/>
                <a:gd name="T24" fmla="*/ 0 w 4131"/>
                <a:gd name="T25" fmla="*/ 0 h 7179"/>
                <a:gd name="T26" fmla="*/ 4131 w 4131"/>
                <a:gd name="T27" fmla="*/ 7179 h 717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131" h="7179">
                  <a:moveTo>
                    <a:pt x="1915" y="0"/>
                  </a:moveTo>
                  <a:lnTo>
                    <a:pt x="4131" y="0"/>
                  </a:lnTo>
                  <a:lnTo>
                    <a:pt x="2194" y="2771"/>
                  </a:lnTo>
                  <a:lnTo>
                    <a:pt x="4107" y="2771"/>
                  </a:lnTo>
                  <a:lnTo>
                    <a:pt x="623" y="7179"/>
                  </a:lnTo>
                  <a:lnTo>
                    <a:pt x="2099" y="4155"/>
                  </a:lnTo>
                  <a:lnTo>
                    <a:pt x="0" y="4155"/>
                  </a:lnTo>
                  <a:lnTo>
                    <a:pt x="191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2" name="Freeform 218"/>
            <p:cNvSpPr>
              <a:spLocks noChangeAspect="1"/>
            </p:cNvSpPr>
            <p:nvPr/>
          </p:nvSpPr>
          <p:spPr bwMode="auto">
            <a:xfrm>
              <a:off x="-5298" y="-715"/>
              <a:ext cx="3671" cy="5622"/>
            </a:xfrm>
            <a:custGeom>
              <a:avLst/>
              <a:gdLst>
                <a:gd name="T0" fmla="*/ 1011 w 1554"/>
                <a:gd name="T1" fmla="*/ 0 h 2380"/>
                <a:gd name="T2" fmla="*/ 919 w 1554"/>
                <a:gd name="T3" fmla="*/ 127 h 2380"/>
                <a:gd name="T4" fmla="*/ 1398 w 1554"/>
                <a:gd name="T5" fmla="*/ 1064 h 2380"/>
                <a:gd name="T6" fmla="*/ 238 w 1554"/>
                <a:gd name="T7" fmla="*/ 2224 h 2380"/>
                <a:gd name="T8" fmla="*/ 117 w 1554"/>
                <a:gd name="T9" fmla="*/ 2217 h 2380"/>
                <a:gd name="T10" fmla="*/ 0 w 1554"/>
                <a:gd name="T11" fmla="*/ 2358 h 2380"/>
                <a:gd name="T12" fmla="*/ 238 w 1554"/>
                <a:gd name="T13" fmla="*/ 2380 h 2380"/>
                <a:gd name="T14" fmla="*/ 1554 w 1554"/>
                <a:gd name="T15" fmla="*/ 1064 h 2380"/>
                <a:gd name="T16" fmla="*/ 1011 w 1554"/>
                <a:gd name="T17" fmla="*/ 0 h 238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54"/>
                <a:gd name="T28" fmla="*/ 0 h 2380"/>
                <a:gd name="T29" fmla="*/ 1554 w 1554"/>
                <a:gd name="T30" fmla="*/ 2380 h 238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54" h="2380">
                  <a:moveTo>
                    <a:pt x="1011" y="0"/>
                  </a:moveTo>
                  <a:cubicBezTo>
                    <a:pt x="919" y="127"/>
                    <a:pt x="919" y="127"/>
                    <a:pt x="919" y="127"/>
                  </a:cubicBezTo>
                  <a:cubicBezTo>
                    <a:pt x="1209" y="337"/>
                    <a:pt x="1397" y="679"/>
                    <a:pt x="1398" y="1064"/>
                  </a:cubicBezTo>
                  <a:cubicBezTo>
                    <a:pt x="1397" y="1705"/>
                    <a:pt x="879" y="2223"/>
                    <a:pt x="238" y="2224"/>
                  </a:cubicBezTo>
                  <a:cubicBezTo>
                    <a:pt x="197" y="2224"/>
                    <a:pt x="157" y="2222"/>
                    <a:pt x="117" y="2217"/>
                  </a:cubicBezTo>
                  <a:cubicBezTo>
                    <a:pt x="0" y="2358"/>
                    <a:pt x="0" y="2358"/>
                    <a:pt x="0" y="2358"/>
                  </a:cubicBezTo>
                  <a:cubicBezTo>
                    <a:pt x="77" y="2372"/>
                    <a:pt x="157" y="2380"/>
                    <a:pt x="238" y="2380"/>
                  </a:cubicBezTo>
                  <a:cubicBezTo>
                    <a:pt x="965" y="2380"/>
                    <a:pt x="1554" y="1791"/>
                    <a:pt x="1554" y="1064"/>
                  </a:cubicBezTo>
                  <a:cubicBezTo>
                    <a:pt x="1554" y="626"/>
                    <a:pt x="1340" y="239"/>
                    <a:pt x="101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3" name="Freeform 219"/>
            <p:cNvSpPr>
              <a:spLocks noChangeAspect="1"/>
            </p:cNvSpPr>
            <p:nvPr/>
          </p:nvSpPr>
          <p:spPr bwMode="auto">
            <a:xfrm>
              <a:off x="-7844" y="-1244"/>
              <a:ext cx="2473" cy="5806"/>
            </a:xfrm>
            <a:custGeom>
              <a:avLst/>
              <a:gdLst>
                <a:gd name="T0" fmla="*/ 157 w 1047"/>
                <a:gd name="T1" fmla="*/ 1288 h 2458"/>
                <a:gd name="T2" fmla="*/ 947 w 1047"/>
                <a:gd name="T3" fmla="*/ 190 h 2458"/>
                <a:gd name="T4" fmla="*/ 1047 w 1047"/>
                <a:gd name="T5" fmla="*/ 0 h 2458"/>
                <a:gd name="T6" fmla="*/ 0 w 1047"/>
                <a:gd name="T7" fmla="*/ 1288 h 2458"/>
                <a:gd name="T8" fmla="*/ 714 w 1047"/>
                <a:gd name="T9" fmla="*/ 2458 h 2458"/>
                <a:gd name="T10" fmla="*/ 788 w 1047"/>
                <a:gd name="T11" fmla="*/ 2320 h 2458"/>
                <a:gd name="T12" fmla="*/ 157 w 1047"/>
                <a:gd name="T13" fmla="*/ 1288 h 2458"/>
                <a:gd name="T14" fmla="*/ 0 60000 65536"/>
                <a:gd name="T15" fmla="*/ 0 60000 65536"/>
                <a:gd name="T16" fmla="*/ 0 60000 65536"/>
                <a:gd name="T17" fmla="*/ 0 60000 65536"/>
                <a:gd name="T18" fmla="*/ 0 60000 65536"/>
                <a:gd name="T19" fmla="*/ 0 60000 65536"/>
                <a:gd name="T20" fmla="*/ 0 60000 65536"/>
                <a:gd name="T21" fmla="*/ 0 w 1047"/>
                <a:gd name="T22" fmla="*/ 0 h 2458"/>
                <a:gd name="T23" fmla="*/ 1047 w 1047"/>
                <a:gd name="T24" fmla="*/ 2458 h 245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47" h="2458">
                  <a:moveTo>
                    <a:pt x="157" y="1288"/>
                  </a:moveTo>
                  <a:cubicBezTo>
                    <a:pt x="158" y="777"/>
                    <a:pt x="488" y="344"/>
                    <a:pt x="947" y="190"/>
                  </a:cubicBezTo>
                  <a:cubicBezTo>
                    <a:pt x="1047" y="0"/>
                    <a:pt x="1047" y="0"/>
                    <a:pt x="1047" y="0"/>
                  </a:cubicBezTo>
                  <a:cubicBezTo>
                    <a:pt x="449" y="125"/>
                    <a:pt x="0" y="654"/>
                    <a:pt x="0" y="1288"/>
                  </a:cubicBezTo>
                  <a:cubicBezTo>
                    <a:pt x="0" y="1798"/>
                    <a:pt x="290" y="2240"/>
                    <a:pt x="714" y="2458"/>
                  </a:cubicBezTo>
                  <a:cubicBezTo>
                    <a:pt x="788" y="2320"/>
                    <a:pt x="788" y="2320"/>
                    <a:pt x="788" y="2320"/>
                  </a:cubicBezTo>
                  <a:cubicBezTo>
                    <a:pt x="413" y="2127"/>
                    <a:pt x="158" y="1738"/>
                    <a:pt x="157" y="12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sp>
        <p:nvSpPr>
          <p:cNvPr id="38" name="Freeform 564"/>
          <p:cNvSpPr>
            <a:spLocks noChangeAspect="1" noEditPoints="1"/>
          </p:cNvSpPr>
          <p:nvPr/>
        </p:nvSpPr>
        <p:spPr bwMode="auto">
          <a:xfrm>
            <a:off x="1056898" y="2159531"/>
            <a:ext cx="470430" cy="202614"/>
          </a:xfrm>
          <a:custGeom>
            <a:avLst/>
            <a:gdLst>
              <a:gd name="T0" fmla="*/ 121 w 157"/>
              <a:gd name="T1" fmla="*/ 25 h 68"/>
              <a:gd name="T2" fmla="*/ 94 w 157"/>
              <a:gd name="T3" fmla="*/ 0 h 68"/>
              <a:gd name="T4" fmla="*/ 56 w 157"/>
              <a:gd name="T5" fmla="*/ 0 h 68"/>
              <a:gd name="T6" fmla="*/ 23 w 157"/>
              <a:gd name="T7" fmla="*/ 25 h 68"/>
              <a:gd name="T8" fmla="*/ 0 w 157"/>
              <a:gd name="T9" fmla="*/ 51 h 68"/>
              <a:gd name="T10" fmla="*/ 13 w 157"/>
              <a:gd name="T11" fmla="*/ 67 h 68"/>
              <a:gd name="T12" fmla="*/ 34 w 157"/>
              <a:gd name="T13" fmla="*/ 46 h 68"/>
              <a:gd name="T14" fmla="*/ 55 w 157"/>
              <a:gd name="T15" fmla="*/ 67 h 68"/>
              <a:gd name="T16" fmla="*/ 106 w 157"/>
              <a:gd name="T17" fmla="*/ 67 h 68"/>
              <a:gd name="T18" fmla="*/ 127 w 157"/>
              <a:gd name="T19" fmla="*/ 46 h 68"/>
              <a:gd name="T20" fmla="*/ 148 w 157"/>
              <a:gd name="T21" fmla="*/ 67 h 68"/>
              <a:gd name="T22" fmla="*/ 157 w 157"/>
              <a:gd name="T23" fmla="*/ 56 h 68"/>
              <a:gd name="T24" fmla="*/ 121 w 157"/>
              <a:gd name="T25" fmla="*/ 25 h 68"/>
              <a:gd name="T26" fmla="*/ 57 w 157"/>
              <a:gd name="T27" fmla="*/ 26 h 68"/>
              <a:gd name="T28" fmla="*/ 38 w 157"/>
              <a:gd name="T29" fmla="*/ 26 h 68"/>
              <a:gd name="T30" fmla="*/ 38 w 157"/>
              <a:gd name="T31" fmla="*/ 23 h 68"/>
              <a:gd name="T32" fmla="*/ 57 w 157"/>
              <a:gd name="T33" fmla="*/ 8 h 68"/>
              <a:gd name="T34" fmla="*/ 57 w 157"/>
              <a:gd name="T35" fmla="*/ 26 h 68"/>
              <a:gd name="T36" fmla="*/ 94 w 157"/>
              <a:gd name="T37" fmla="*/ 26 h 68"/>
              <a:gd name="T38" fmla="*/ 63 w 157"/>
              <a:gd name="T39" fmla="*/ 26 h 68"/>
              <a:gd name="T40" fmla="*/ 63 w 157"/>
              <a:gd name="T41" fmla="*/ 6 h 68"/>
              <a:gd name="T42" fmla="*/ 89 w 157"/>
              <a:gd name="T43" fmla="*/ 6 h 68"/>
              <a:gd name="T44" fmla="*/ 94 w 157"/>
              <a:gd name="T45" fmla="*/ 10 h 68"/>
              <a:gd name="T46" fmla="*/ 94 w 157"/>
              <a:gd name="T47" fmla="*/ 26 h 68"/>
              <a:gd name="T48" fmla="*/ 108 w 157"/>
              <a:gd name="T49" fmla="*/ 26 h 68"/>
              <a:gd name="T50" fmla="*/ 100 w 157"/>
              <a:gd name="T51" fmla="*/ 26 h 68"/>
              <a:gd name="T52" fmla="*/ 100 w 157"/>
              <a:gd name="T53" fmla="*/ 15 h 68"/>
              <a:gd name="T54" fmla="*/ 108 w 157"/>
              <a:gd name="T55" fmla="*/ 23 h 68"/>
              <a:gd name="T56" fmla="*/ 108 w 157"/>
              <a:gd name="T57" fmla="*/ 26 h 68"/>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57"/>
              <a:gd name="T88" fmla="*/ 0 h 68"/>
              <a:gd name="T89" fmla="*/ 157 w 157"/>
              <a:gd name="T90" fmla="*/ 68 h 68"/>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57" h="68">
                <a:moveTo>
                  <a:pt x="121" y="25"/>
                </a:moveTo>
                <a:cubicBezTo>
                  <a:pt x="110" y="20"/>
                  <a:pt x="100" y="0"/>
                  <a:pt x="94" y="0"/>
                </a:cubicBezTo>
                <a:cubicBezTo>
                  <a:pt x="87" y="0"/>
                  <a:pt x="61" y="0"/>
                  <a:pt x="56" y="0"/>
                </a:cubicBezTo>
                <a:cubicBezTo>
                  <a:pt x="51" y="0"/>
                  <a:pt x="29" y="25"/>
                  <a:pt x="23" y="25"/>
                </a:cubicBezTo>
                <a:cubicBezTo>
                  <a:pt x="23" y="25"/>
                  <a:pt x="0" y="28"/>
                  <a:pt x="0" y="51"/>
                </a:cubicBezTo>
                <a:cubicBezTo>
                  <a:pt x="0" y="68"/>
                  <a:pt x="13" y="67"/>
                  <a:pt x="13" y="67"/>
                </a:cubicBezTo>
                <a:cubicBezTo>
                  <a:pt x="13" y="55"/>
                  <a:pt x="23" y="46"/>
                  <a:pt x="34" y="46"/>
                </a:cubicBezTo>
                <a:cubicBezTo>
                  <a:pt x="46" y="46"/>
                  <a:pt x="55" y="55"/>
                  <a:pt x="55" y="67"/>
                </a:cubicBezTo>
                <a:cubicBezTo>
                  <a:pt x="106" y="67"/>
                  <a:pt x="106" y="67"/>
                  <a:pt x="106" y="67"/>
                </a:cubicBezTo>
                <a:cubicBezTo>
                  <a:pt x="106" y="55"/>
                  <a:pt x="116" y="46"/>
                  <a:pt x="127" y="46"/>
                </a:cubicBezTo>
                <a:cubicBezTo>
                  <a:pt x="139" y="46"/>
                  <a:pt x="148" y="55"/>
                  <a:pt x="148" y="67"/>
                </a:cubicBezTo>
                <a:cubicBezTo>
                  <a:pt x="148" y="67"/>
                  <a:pt x="157" y="68"/>
                  <a:pt x="157" y="56"/>
                </a:cubicBezTo>
                <a:cubicBezTo>
                  <a:pt x="157" y="44"/>
                  <a:pt x="143" y="25"/>
                  <a:pt x="121" y="25"/>
                </a:cubicBezTo>
                <a:close/>
                <a:moveTo>
                  <a:pt x="57" y="26"/>
                </a:moveTo>
                <a:cubicBezTo>
                  <a:pt x="38" y="26"/>
                  <a:pt x="38" y="26"/>
                  <a:pt x="38" y="26"/>
                </a:cubicBezTo>
                <a:cubicBezTo>
                  <a:pt x="38" y="23"/>
                  <a:pt x="38" y="23"/>
                  <a:pt x="38" y="23"/>
                </a:cubicBezTo>
                <a:cubicBezTo>
                  <a:pt x="57" y="8"/>
                  <a:pt x="57" y="8"/>
                  <a:pt x="57" y="8"/>
                </a:cubicBezTo>
                <a:lnTo>
                  <a:pt x="57" y="26"/>
                </a:lnTo>
                <a:close/>
                <a:moveTo>
                  <a:pt x="94" y="26"/>
                </a:moveTo>
                <a:cubicBezTo>
                  <a:pt x="63" y="26"/>
                  <a:pt x="63" y="26"/>
                  <a:pt x="63" y="26"/>
                </a:cubicBezTo>
                <a:cubicBezTo>
                  <a:pt x="63" y="6"/>
                  <a:pt x="63" y="6"/>
                  <a:pt x="63" y="6"/>
                </a:cubicBezTo>
                <a:cubicBezTo>
                  <a:pt x="89" y="6"/>
                  <a:pt x="89" y="6"/>
                  <a:pt x="89" y="6"/>
                </a:cubicBezTo>
                <a:cubicBezTo>
                  <a:pt x="94" y="10"/>
                  <a:pt x="94" y="10"/>
                  <a:pt x="94" y="10"/>
                </a:cubicBezTo>
                <a:lnTo>
                  <a:pt x="94" y="26"/>
                </a:lnTo>
                <a:close/>
                <a:moveTo>
                  <a:pt x="108" y="26"/>
                </a:moveTo>
                <a:cubicBezTo>
                  <a:pt x="100" y="26"/>
                  <a:pt x="100" y="26"/>
                  <a:pt x="100" y="26"/>
                </a:cubicBezTo>
                <a:cubicBezTo>
                  <a:pt x="100" y="15"/>
                  <a:pt x="100" y="15"/>
                  <a:pt x="100" y="15"/>
                </a:cubicBezTo>
                <a:cubicBezTo>
                  <a:pt x="108" y="23"/>
                  <a:pt x="108" y="23"/>
                  <a:pt x="108" y="23"/>
                </a:cubicBezTo>
                <a:lnTo>
                  <a:pt x="108"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nvGrpSpPr>
          <p:cNvPr id="39" name="Group 38"/>
          <p:cNvGrpSpPr/>
          <p:nvPr/>
        </p:nvGrpSpPr>
        <p:grpSpPr>
          <a:xfrm>
            <a:off x="3812406" y="2920290"/>
            <a:ext cx="1752639" cy="1526248"/>
            <a:chOff x="307252" y="1736725"/>
            <a:chExt cx="720075" cy="720076"/>
          </a:xfrm>
        </p:grpSpPr>
        <p:sp>
          <p:nvSpPr>
            <p:cNvPr id="40" name="Oval 18"/>
            <p:cNvSpPr>
              <a:spLocks noChangeArrowheads="1"/>
            </p:cNvSpPr>
            <p:nvPr/>
          </p:nvSpPr>
          <p:spPr bwMode="gray">
            <a:xfrm>
              <a:off x="307252" y="1736725"/>
              <a:ext cx="720075" cy="720076"/>
            </a:xfrm>
            <a:prstGeom prst="ellipse">
              <a:avLst/>
            </a:prstGeom>
            <a:solidFill>
              <a:schemeClr val="accent4"/>
            </a:solidFill>
            <a:ln>
              <a:noFill/>
            </a:ln>
            <a:extLst/>
          </p:spPr>
          <p:txBody>
            <a:bodyPr wrap="none" anchor="ctr"/>
            <a:lstStyle/>
            <a:p>
              <a:endParaRPr lang="en-US"/>
            </a:p>
          </p:txBody>
        </p:sp>
        <p:grpSp>
          <p:nvGrpSpPr>
            <p:cNvPr id="41" name="Group 561"/>
            <p:cNvGrpSpPr>
              <a:grpSpLocks noChangeAspect="1"/>
            </p:cNvGrpSpPr>
            <p:nvPr/>
          </p:nvGrpSpPr>
          <p:grpSpPr bwMode="auto">
            <a:xfrm>
              <a:off x="431353" y="1973383"/>
              <a:ext cx="470430" cy="248202"/>
              <a:chOff x="-1684" y="2429"/>
              <a:chExt cx="370" cy="196"/>
            </a:xfrm>
          </p:grpSpPr>
          <p:sp>
            <p:nvSpPr>
              <p:cNvPr id="42" name="Freeform 562"/>
              <p:cNvSpPr>
                <a:spLocks noChangeAspect="1" noEditPoints="1"/>
              </p:cNvSpPr>
              <p:nvPr/>
            </p:nvSpPr>
            <p:spPr bwMode="auto">
              <a:xfrm>
                <a:off x="-1422" y="2549"/>
                <a:ext cx="75" cy="76"/>
              </a:xfrm>
              <a:custGeom>
                <a:avLst/>
                <a:gdLst>
                  <a:gd name="T0" fmla="*/ 16 w 32"/>
                  <a:gd name="T1" fmla="*/ 0 h 32"/>
                  <a:gd name="T2" fmla="*/ 0 w 32"/>
                  <a:gd name="T3" fmla="*/ 16 h 32"/>
                  <a:gd name="T4" fmla="*/ 16 w 32"/>
                  <a:gd name="T5" fmla="*/ 32 h 32"/>
                  <a:gd name="T6" fmla="*/ 32 w 32"/>
                  <a:gd name="T7" fmla="*/ 16 h 32"/>
                  <a:gd name="T8" fmla="*/ 16 w 32"/>
                  <a:gd name="T9" fmla="*/ 0 h 32"/>
                  <a:gd name="T10" fmla="*/ 16 w 32"/>
                  <a:gd name="T11" fmla="*/ 22 h 32"/>
                  <a:gd name="T12" fmla="*/ 10 w 32"/>
                  <a:gd name="T13" fmla="*/ 16 h 32"/>
                  <a:gd name="T14" fmla="*/ 16 w 32"/>
                  <a:gd name="T15" fmla="*/ 10 h 32"/>
                  <a:gd name="T16" fmla="*/ 22 w 32"/>
                  <a:gd name="T17" fmla="*/ 16 h 32"/>
                  <a:gd name="T18" fmla="*/ 16 w 32"/>
                  <a:gd name="T19" fmla="*/ 22 h 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2"/>
                  <a:gd name="T31" fmla="*/ 0 h 32"/>
                  <a:gd name="T32" fmla="*/ 32 w 32"/>
                  <a:gd name="T33" fmla="*/ 32 h 3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2" h="32">
                    <a:moveTo>
                      <a:pt x="16" y="0"/>
                    </a:moveTo>
                    <a:cubicBezTo>
                      <a:pt x="7" y="0"/>
                      <a:pt x="0" y="7"/>
                      <a:pt x="0" y="16"/>
                    </a:cubicBezTo>
                    <a:cubicBezTo>
                      <a:pt x="0" y="25"/>
                      <a:pt x="7" y="32"/>
                      <a:pt x="16" y="32"/>
                    </a:cubicBezTo>
                    <a:cubicBezTo>
                      <a:pt x="25" y="32"/>
                      <a:pt x="32" y="25"/>
                      <a:pt x="32" y="16"/>
                    </a:cubicBezTo>
                    <a:cubicBezTo>
                      <a:pt x="32" y="7"/>
                      <a:pt x="25" y="0"/>
                      <a:pt x="16" y="0"/>
                    </a:cubicBezTo>
                    <a:close/>
                    <a:moveTo>
                      <a:pt x="16" y="22"/>
                    </a:moveTo>
                    <a:cubicBezTo>
                      <a:pt x="13" y="22"/>
                      <a:pt x="10" y="20"/>
                      <a:pt x="10" y="16"/>
                    </a:cubicBezTo>
                    <a:cubicBezTo>
                      <a:pt x="10" y="13"/>
                      <a:pt x="13" y="10"/>
                      <a:pt x="16" y="10"/>
                    </a:cubicBezTo>
                    <a:cubicBezTo>
                      <a:pt x="20" y="10"/>
                      <a:pt x="22" y="13"/>
                      <a:pt x="22" y="16"/>
                    </a:cubicBezTo>
                    <a:cubicBezTo>
                      <a:pt x="22" y="20"/>
                      <a:pt x="20" y="22"/>
                      <a:pt x="16"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3" name="Freeform 563"/>
              <p:cNvSpPr>
                <a:spLocks noChangeAspect="1" noEditPoints="1"/>
              </p:cNvSpPr>
              <p:nvPr/>
            </p:nvSpPr>
            <p:spPr bwMode="auto">
              <a:xfrm>
                <a:off x="-1642" y="2549"/>
                <a:ext cx="76" cy="76"/>
              </a:xfrm>
              <a:custGeom>
                <a:avLst/>
                <a:gdLst>
                  <a:gd name="T0" fmla="*/ 16 w 32"/>
                  <a:gd name="T1" fmla="*/ 0 h 32"/>
                  <a:gd name="T2" fmla="*/ 0 w 32"/>
                  <a:gd name="T3" fmla="*/ 16 h 32"/>
                  <a:gd name="T4" fmla="*/ 16 w 32"/>
                  <a:gd name="T5" fmla="*/ 32 h 32"/>
                  <a:gd name="T6" fmla="*/ 32 w 32"/>
                  <a:gd name="T7" fmla="*/ 16 h 32"/>
                  <a:gd name="T8" fmla="*/ 16 w 32"/>
                  <a:gd name="T9" fmla="*/ 0 h 32"/>
                  <a:gd name="T10" fmla="*/ 16 w 32"/>
                  <a:gd name="T11" fmla="*/ 22 h 32"/>
                  <a:gd name="T12" fmla="*/ 10 w 32"/>
                  <a:gd name="T13" fmla="*/ 16 h 32"/>
                  <a:gd name="T14" fmla="*/ 16 w 32"/>
                  <a:gd name="T15" fmla="*/ 10 h 32"/>
                  <a:gd name="T16" fmla="*/ 23 w 32"/>
                  <a:gd name="T17" fmla="*/ 16 h 32"/>
                  <a:gd name="T18" fmla="*/ 16 w 32"/>
                  <a:gd name="T19" fmla="*/ 22 h 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2"/>
                  <a:gd name="T31" fmla="*/ 0 h 32"/>
                  <a:gd name="T32" fmla="*/ 32 w 32"/>
                  <a:gd name="T33" fmla="*/ 32 h 3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2" h="32">
                    <a:moveTo>
                      <a:pt x="16" y="0"/>
                    </a:moveTo>
                    <a:cubicBezTo>
                      <a:pt x="8" y="0"/>
                      <a:pt x="0" y="7"/>
                      <a:pt x="0" y="16"/>
                    </a:cubicBezTo>
                    <a:cubicBezTo>
                      <a:pt x="0" y="25"/>
                      <a:pt x="8" y="32"/>
                      <a:pt x="16" y="32"/>
                    </a:cubicBezTo>
                    <a:cubicBezTo>
                      <a:pt x="25" y="32"/>
                      <a:pt x="32" y="25"/>
                      <a:pt x="32" y="16"/>
                    </a:cubicBezTo>
                    <a:cubicBezTo>
                      <a:pt x="32" y="7"/>
                      <a:pt x="25" y="0"/>
                      <a:pt x="16" y="0"/>
                    </a:cubicBezTo>
                    <a:close/>
                    <a:moveTo>
                      <a:pt x="16" y="22"/>
                    </a:moveTo>
                    <a:cubicBezTo>
                      <a:pt x="13" y="22"/>
                      <a:pt x="10" y="20"/>
                      <a:pt x="10" y="16"/>
                    </a:cubicBezTo>
                    <a:cubicBezTo>
                      <a:pt x="10" y="13"/>
                      <a:pt x="13" y="10"/>
                      <a:pt x="16" y="10"/>
                    </a:cubicBezTo>
                    <a:cubicBezTo>
                      <a:pt x="20" y="10"/>
                      <a:pt x="23" y="13"/>
                      <a:pt x="23" y="16"/>
                    </a:cubicBezTo>
                    <a:cubicBezTo>
                      <a:pt x="23" y="20"/>
                      <a:pt x="20" y="22"/>
                      <a:pt x="16"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4" name="Freeform 564"/>
              <p:cNvSpPr>
                <a:spLocks noChangeAspect="1" noEditPoints="1"/>
              </p:cNvSpPr>
              <p:nvPr/>
            </p:nvSpPr>
            <p:spPr bwMode="auto">
              <a:xfrm>
                <a:off x="-1684" y="2429"/>
                <a:ext cx="370" cy="160"/>
              </a:xfrm>
              <a:custGeom>
                <a:avLst/>
                <a:gdLst>
                  <a:gd name="T0" fmla="*/ 121 w 157"/>
                  <a:gd name="T1" fmla="*/ 25 h 68"/>
                  <a:gd name="T2" fmla="*/ 94 w 157"/>
                  <a:gd name="T3" fmla="*/ 0 h 68"/>
                  <a:gd name="T4" fmla="*/ 56 w 157"/>
                  <a:gd name="T5" fmla="*/ 0 h 68"/>
                  <a:gd name="T6" fmla="*/ 23 w 157"/>
                  <a:gd name="T7" fmla="*/ 25 h 68"/>
                  <a:gd name="T8" fmla="*/ 0 w 157"/>
                  <a:gd name="T9" fmla="*/ 51 h 68"/>
                  <a:gd name="T10" fmla="*/ 13 w 157"/>
                  <a:gd name="T11" fmla="*/ 67 h 68"/>
                  <a:gd name="T12" fmla="*/ 34 w 157"/>
                  <a:gd name="T13" fmla="*/ 46 h 68"/>
                  <a:gd name="T14" fmla="*/ 55 w 157"/>
                  <a:gd name="T15" fmla="*/ 67 h 68"/>
                  <a:gd name="T16" fmla="*/ 106 w 157"/>
                  <a:gd name="T17" fmla="*/ 67 h 68"/>
                  <a:gd name="T18" fmla="*/ 127 w 157"/>
                  <a:gd name="T19" fmla="*/ 46 h 68"/>
                  <a:gd name="T20" fmla="*/ 148 w 157"/>
                  <a:gd name="T21" fmla="*/ 67 h 68"/>
                  <a:gd name="T22" fmla="*/ 157 w 157"/>
                  <a:gd name="T23" fmla="*/ 56 h 68"/>
                  <a:gd name="T24" fmla="*/ 121 w 157"/>
                  <a:gd name="T25" fmla="*/ 25 h 68"/>
                  <a:gd name="T26" fmla="*/ 57 w 157"/>
                  <a:gd name="T27" fmla="*/ 26 h 68"/>
                  <a:gd name="T28" fmla="*/ 38 w 157"/>
                  <a:gd name="T29" fmla="*/ 26 h 68"/>
                  <a:gd name="T30" fmla="*/ 38 w 157"/>
                  <a:gd name="T31" fmla="*/ 23 h 68"/>
                  <a:gd name="T32" fmla="*/ 57 w 157"/>
                  <a:gd name="T33" fmla="*/ 8 h 68"/>
                  <a:gd name="T34" fmla="*/ 57 w 157"/>
                  <a:gd name="T35" fmla="*/ 26 h 68"/>
                  <a:gd name="T36" fmla="*/ 94 w 157"/>
                  <a:gd name="T37" fmla="*/ 26 h 68"/>
                  <a:gd name="T38" fmla="*/ 63 w 157"/>
                  <a:gd name="T39" fmla="*/ 26 h 68"/>
                  <a:gd name="T40" fmla="*/ 63 w 157"/>
                  <a:gd name="T41" fmla="*/ 6 h 68"/>
                  <a:gd name="T42" fmla="*/ 89 w 157"/>
                  <a:gd name="T43" fmla="*/ 6 h 68"/>
                  <a:gd name="T44" fmla="*/ 94 w 157"/>
                  <a:gd name="T45" fmla="*/ 10 h 68"/>
                  <a:gd name="T46" fmla="*/ 94 w 157"/>
                  <a:gd name="T47" fmla="*/ 26 h 68"/>
                  <a:gd name="T48" fmla="*/ 108 w 157"/>
                  <a:gd name="T49" fmla="*/ 26 h 68"/>
                  <a:gd name="T50" fmla="*/ 100 w 157"/>
                  <a:gd name="T51" fmla="*/ 26 h 68"/>
                  <a:gd name="T52" fmla="*/ 100 w 157"/>
                  <a:gd name="T53" fmla="*/ 15 h 68"/>
                  <a:gd name="T54" fmla="*/ 108 w 157"/>
                  <a:gd name="T55" fmla="*/ 23 h 68"/>
                  <a:gd name="T56" fmla="*/ 108 w 157"/>
                  <a:gd name="T57" fmla="*/ 26 h 68"/>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57"/>
                  <a:gd name="T88" fmla="*/ 0 h 68"/>
                  <a:gd name="T89" fmla="*/ 157 w 157"/>
                  <a:gd name="T90" fmla="*/ 68 h 68"/>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57" h="68">
                    <a:moveTo>
                      <a:pt x="121" y="25"/>
                    </a:moveTo>
                    <a:cubicBezTo>
                      <a:pt x="110" y="20"/>
                      <a:pt x="100" y="0"/>
                      <a:pt x="94" y="0"/>
                    </a:cubicBezTo>
                    <a:cubicBezTo>
                      <a:pt x="87" y="0"/>
                      <a:pt x="61" y="0"/>
                      <a:pt x="56" y="0"/>
                    </a:cubicBezTo>
                    <a:cubicBezTo>
                      <a:pt x="51" y="0"/>
                      <a:pt x="29" y="25"/>
                      <a:pt x="23" y="25"/>
                    </a:cubicBezTo>
                    <a:cubicBezTo>
                      <a:pt x="23" y="25"/>
                      <a:pt x="0" y="28"/>
                      <a:pt x="0" y="51"/>
                    </a:cubicBezTo>
                    <a:cubicBezTo>
                      <a:pt x="0" y="68"/>
                      <a:pt x="13" y="67"/>
                      <a:pt x="13" y="67"/>
                    </a:cubicBezTo>
                    <a:cubicBezTo>
                      <a:pt x="13" y="55"/>
                      <a:pt x="23" y="46"/>
                      <a:pt x="34" y="46"/>
                    </a:cubicBezTo>
                    <a:cubicBezTo>
                      <a:pt x="46" y="46"/>
                      <a:pt x="55" y="55"/>
                      <a:pt x="55" y="67"/>
                    </a:cubicBezTo>
                    <a:cubicBezTo>
                      <a:pt x="106" y="67"/>
                      <a:pt x="106" y="67"/>
                      <a:pt x="106" y="67"/>
                    </a:cubicBezTo>
                    <a:cubicBezTo>
                      <a:pt x="106" y="55"/>
                      <a:pt x="116" y="46"/>
                      <a:pt x="127" y="46"/>
                    </a:cubicBezTo>
                    <a:cubicBezTo>
                      <a:pt x="139" y="46"/>
                      <a:pt x="148" y="55"/>
                      <a:pt x="148" y="67"/>
                    </a:cubicBezTo>
                    <a:cubicBezTo>
                      <a:pt x="148" y="67"/>
                      <a:pt x="157" y="68"/>
                      <a:pt x="157" y="56"/>
                    </a:cubicBezTo>
                    <a:cubicBezTo>
                      <a:pt x="157" y="44"/>
                      <a:pt x="143" y="25"/>
                      <a:pt x="121" y="25"/>
                    </a:cubicBezTo>
                    <a:close/>
                    <a:moveTo>
                      <a:pt x="57" y="26"/>
                    </a:moveTo>
                    <a:cubicBezTo>
                      <a:pt x="38" y="26"/>
                      <a:pt x="38" y="26"/>
                      <a:pt x="38" y="26"/>
                    </a:cubicBezTo>
                    <a:cubicBezTo>
                      <a:pt x="38" y="23"/>
                      <a:pt x="38" y="23"/>
                      <a:pt x="38" y="23"/>
                    </a:cubicBezTo>
                    <a:cubicBezTo>
                      <a:pt x="57" y="8"/>
                      <a:pt x="57" y="8"/>
                      <a:pt x="57" y="8"/>
                    </a:cubicBezTo>
                    <a:lnTo>
                      <a:pt x="57" y="26"/>
                    </a:lnTo>
                    <a:close/>
                    <a:moveTo>
                      <a:pt x="94" y="26"/>
                    </a:moveTo>
                    <a:cubicBezTo>
                      <a:pt x="63" y="26"/>
                      <a:pt x="63" y="26"/>
                      <a:pt x="63" y="26"/>
                    </a:cubicBezTo>
                    <a:cubicBezTo>
                      <a:pt x="63" y="6"/>
                      <a:pt x="63" y="6"/>
                      <a:pt x="63" y="6"/>
                    </a:cubicBezTo>
                    <a:cubicBezTo>
                      <a:pt x="89" y="6"/>
                      <a:pt x="89" y="6"/>
                      <a:pt x="89" y="6"/>
                    </a:cubicBezTo>
                    <a:cubicBezTo>
                      <a:pt x="94" y="10"/>
                      <a:pt x="94" y="10"/>
                      <a:pt x="94" y="10"/>
                    </a:cubicBezTo>
                    <a:lnTo>
                      <a:pt x="94" y="26"/>
                    </a:lnTo>
                    <a:close/>
                    <a:moveTo>
                      <a:pt x="108" y="26"/>
                    </a:moveTo>
                    <a:cubicBezTo>
                      <a:pt x="100" y="26"/>
                      <a:pt x="100" y="26"/>
                      <a:pt x="100" y="26"/>
                    </a:cubicBezTo>
                    <a:cubicBezTo>
                      <a:pt x="100" y="15"/>
                      <a:pt x="100" y="15"/>
                      <a:pt x="100" y="15"/>
                    </a:cubicBezTo>
                    <a:cubicBezTo>
                      <a:pt x="108" y="23"/>
                      <a:pt x="108" y="23"/>
                      <a:pt x="108" y="23"/>
                    </a:cubicBezTo>
                    <a:lnTo>
                      <a:pt x="108"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grpSp>
      <p:pic>
        <p:nvPicPr>
          <p:cNvPr id="20492" name="Picture 12" descr="Bilderesultat for wifi waves white"/>
          <p:cNvPicPr>
            <a:picLocks noChangeAspect="1" noChangeArrowheads="1"/>
          </p:cNvPicPr>
          <p:nvPr/>
        </p:nvPicPr>
        <p:blipFill>
          <a:blip r:embed="rId4" cstate="print">
            <a:clrChange>
              <a:clrFrom>
                <a:srgbClr val="FFFFFF"/>
              </a:clrFrom>
              <a:clrTo>
                <a:srgbClr val="FFFFFF">
                  <a:alpha val="0"/>
                </a:srgbClr>
              </a:clrTo>
            </a:clrChange>
            <a:lum bright="70000" contrast="-70000"/>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val="0"/>
              </a:ext>
            </a:extLst>
          </a:blip>
          <a:srcRect/>
          <a:stretch>
            <a:fillRect/>
          </a:stretch>
        </p:blipFill>
        <p:spPr bwMode="auto">
          <a:xfrm rot="18992811">
            <a:off x="4538842" y="3027966"/>
            <a:ext cx="286263" cy="286263"/>
          </a:xfrm>
          <a:prstGeom prst="rect">
            <a:avLst/>
          </a:prstGeom>
          <a:noFill/>
          <a:extLst>
            <a:ext uri="{909E8E84-426E-40DD-AFC4-6F175D3DCCD1}">
              <a14:hiddenFill xmlns:a14="http://schemas.microsoft.com/office/drawing/2010/main">
                <a:solidFill>
                  <a:srgbClr val="FFFFFF"/>
                </a:solidFill>
              </a14:hiddenFill>
            </a:ext>
          </a:extLst>
        </p:spPr>
      </p:pic>
      <p:grpSp>
        <p:nvGrpSpPr>
          <p:cNvPr id="47" name="Group 561"/>
          <p:cNvGrpSpPr>
            <a:grpSpLocks noChangeAspect="1"/>
          </p:cNvGrpSpPr>
          <p:nvPr/>
        </p:nvGrpSpPr>
        <p:grpSpPr bwMode="auto">
          <a:xfrm>
            <a:off x="7069126" y="3375114"/>
            <a:ext cx="1145011" cy="526080"/>
            <a:chOff x="-1684" y="2429"/>
            <a:chExt cx="370" cy="196"/>
          </a:xfrm>
        </p:grpSpPr>
        <p:sp>
          <p:nvSpPr>
            <p:cNvPr id="48" name="Freeform 562"/>
            <p:cNvSpPr>
              <a:spLocks noChangeAspect="1" noEditPoints="1"/>
            </p:cNvSpPr>
            <p:nvPr/>
          </p:nvSpPr>
          <p:spPr bwMode="auto">
            <a:xfrm>
              <a:off x="-1422" y="2549"/>
              <a:ext cx="75" cy="76"/>
            </a:xfrm>
            <a:custGeom>
              <a:avLst/>
              <a:gdLst>
                <a:gd name="T0" fmla="*/ 16 w 32"/>
                <a:gd name="T1" fmla="*/ 0 h 32"/>
                <a:gd name="T2" fmla="*/ 0 w 32"/>
                <a:gd name="T3" fmla="*/ 16 h 32"/>
                <a:gd name="T4" fmla="*/ 16 w 32"/>
                <a:gd name="T5" fmla="*/ 32 h 32"/>
                <a:gd name="T6" fmla="*/ 32 w 32"/>
                <a:gd name="T7" fmla="*/ 16 h 32"/>
                <a:gd name="T8" fmla="*/ 16 w 32"/>
                <a:gd name="T9" fmla="*/ 0 h 32"/>
                <a:gd name="T10" fmla="*/ 16 w 32"/>
                <a:gd name="T11" fmla="*/ 22 h 32"/>
                <a:gd name="T12" fmla="*/ 10 w 32"/>
                <a:gd name="T13" fmla="*/ 16 h 32"/>
                <a:gd name="T14" fmla="*/ 16 w 32"/>
                <a:gd name="T15" fmla="*/ 10 h 32"/>
                <a:gd name="T16" fmla="*/ 22 w 32"/>
                <a:gd name="T17" fmla="*/ 16 h 32"/>
                <a:gd name="T18" fmla="*/ 16 w 32"/>
                <a:gd name="T19" fmla="*/ 22 h 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2"/>
                <a:gd name="T31" fmla="*/ 0 h 32"/>
                <a:gd name="T32" fmla="*/ 32 w 32"/>
                <a:gd name="T33" fmla="*/ 32 h 3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2" h="32">
                  <a:moveTo>
                    <a:pt x="16" y="0"/>
                  </a:moveTo>
                  <a:cubicBezTo>
                    <a:pt x="7" y="0"/>
                    <a:pt x="0" y="7"/>
                    <a:pt x="0" y="16"/>
                  </a:cubicBezTo>
                  <a:cubicBezTo>
                    <a:pt x="0" y="25"/>
                    <a:pt x="7" y="32"/>
                    <a:pt x="16" y="32"/>
                  </a:cubicBezTo>
                  <a:cubicBezTo>
                    <a:pt x="25" y="32"/>
                    <a:pt x="32" y="25"/>
                    <a:pt x="32" y="16"/>
                  </a:cubicBezTo>
                  <a:cubicBezTo>
                    <a:pt x="32" y="7"/>
                    <a:pt x="25" y="0"/>
                    <a:pt x="16" y="0"/>
                  </a:cubicBezTo>
                  <a:close/>
                  <a:moveTo>
                    <a:pt x="16" y="22"/>
                  </a:moveTo>
                  <a:cubicBezTo>
                    <a:pt x="13" y="22"/>
                    <a:pt x="10" y="20"/>
                    <a:pt x="10" y="16"/>
                  </a:cubicBezTo>
                  <a:cubicBezTo>
                    <a:pt x="10" y="13"/>
                    <a:pt x="13" y="10"/>
                    <a:pt x="16" y="10"/>
                  </a:cubicBezTo>
                  <a:cubicBezTo>
                    <a:pt x="20" y="10"/>
                    <a:pt x="22" y="13"/>
                    <a:pt x="22" y="16"/>
                  </a:cubicBezTo>
                  <a:cubicBezTo>
                    <a:pt x="22" y="20"/>
                    <a:pt x="20" y="22"/>
                    <a:pt x="16"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9" name="Freeform 563"/>
            <p:cNvSpPr>
              <a:spLocks noChangeAspect="1" noEditPoints="1"/>
            </p:cNvSpPr>
            <p:nvPr/>
          </p:nvSpPr>
          <p:spPr bwMode="auto">
            <a:xfrm>
              <a:off x="-1642" y="2549"/>
              <a:ext cx="76" cy="76"/>
            </a:xfrm>
            <a:custGeom>
              <a:avLst/>
              <a:gdLst>
                <a:gd name="T0" fmla="*/ 16 w 32"/>
                <a:gd name="T1" fmla="*/ 0 h 32"/>
                <a:gd name="T2" fmla="*/ 0 w 32"/>
                <a:gd name="T3" fmla="*/ 16 h 32"/>
                <a:gd name="T4" fmla="*/ 16 w 32"/>
                <a:gd name="T5" fmla="*/ 32 h 32"/>
                <a:gd name="T6" fmla="*/ 32 w 32"/>
                <a:gd name="T7" fmla="*/ 16 h 32"/>
                <a:gd name="T8" fmla="*/ 16 w 32"/>
                <a:gd name="T9" fmla="*/ 0 h 32"/>
                <a:gd name="T10" fmla="*/ 16 w 32"/>
                <a:gd name="T11" fmla="*/ 22 h 32"/>
                <a:gd name="T12" fmla="*/ 10 w 32"/>
                <a:gd name="T13" fmla="*/ 16 h 32"/>
                <a:gd name="T14" fmla="*/ 16 w 32"/>
                <a:gd name="T15" fmla="*/ 10 h 32"/>
                <a:gd name="T16" fmla="*/ 23 w 32"/>
                <a:gd name="T17" fmla="*/ 16 h 32"/>
                <a:gd name="T18" fmla="*/ 16 w 32"/>
                <a:gd name="T19" fmla="*/ 22 h 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2"/>
                <a:gd name="T31" fmla="*/ 0 h 32"/>
                <a:gd name="T32" fmla="*/ 32 w 32"/>
                <a:gd name="T33" fmla="*/ 32 h 3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2" h="32">
                  <a:moveTo>
                    <a:pt x="16" y="0"/>
                  </a:moveTo>
                  <a:cubicBezTo>
                    <a:pt x="8" y="0"/>
                    <a:pt x="0" y="7"/>
                    <a:pt x="0" y="16"/>
                  </a:cubicBezTo>
                  <a:cubicBezTo>
                    <a:pt x="0" y="25"/>
                    <a:pt x="8" y="32"/>
                    <a:pt x="16" y="32"/>
                  </a:cubicBezTo>
                  <a:cubicBezTo>
                    <a:pt x="25" y="32"/>
                    <a:pt x="32" y="25"/>
                    <a:pt x="32" y="16"/>
                  </a:cubicBezTo>
                  <a:cubicBezTo>
                    <a:pt x="32" y="7"/>
                    <a:pt x="25" y="0"/>
                    <a:pt x="16" y="0"/>
                  </a:cubicBezTo>
                  <a:close/>
                  <a:moveTo>
                    <a:pt x="16" y="22"/>
                  </a:moveTo>
                  <a:cubicBezTo>
                    <a:pt x="13" y="22"/>
                    <a:pt x="10" y="20"/>
                    <a:pt x="10" y="16"/>
                  </a:cubicBezTo>
                  <a:cubicBezTo>
                    <a:pt x="10" y="13"/>
                    <a:pt x="13" y="10"/>
                    <a:pt x="16" y="10"/>
                  </a:cubicBezTo>
                  <a:cubicBezTo>
                    <a:pt x="20" y="10"/>
                    <a:pt x="23" y="13"/>
                    <a:pt x="23" y="16"/>
                  </a:cubicBezTo>
                  <a:cubicBezTo>
                    <a:pt x="23" y="20"/>
                    <a:pt x="20" y="22"/>
                    <a:pt x="16"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0" name="Freeform 564"/>
            <p:cNvSpPr>
              <a:spLocks noChangeAspect="1" noEditPoints="1"/>
            </p:cNvSpPr>
            <p:nvPr/>
          </p:nvSpPr>
          <p:spPr bwMode="auto">
            <a:xfrm>
              <a:off x="-1684" y="2429"/>
              <a:ext cx="370" cy="160"/>
            </a:xfrm>
            <a:custGeom>
              <a:avLst/>
              <a:gdLst>
                <a:gd name="T0" fmla="*/ 121 w 157"/>
                <a:gd name="T1" fmla="*/ 25 h 68"/>
                <a:gd name="T2" fmla="*/ 94 w 157"/>
                <a:gd name="T3" fmla="*/ 0 h 68"/>
                <a:gd name="T4" fmla="*/ 56 w 157"/>
                <a:gd name="T5" fmla="*/ 0 h 68"/>
                <a:gd name="T6" fmla="*/ 23 w 157"/>
                <a:gd name="T7" fmla="*/ 25 h 68"/>
                <a:gd name="T8" fmla="*/ 0 w 157"/>
                <a:gd name="T9" fmla="*/ 51 h 68"/>
                <a:gd name="T10" fmla="*/ 13 w 157"/>
                <a:gd name="T11" fmla="*/ 67 h 68"/>
                <a:gd name="T12" fmla="*/ 34 w 157"/>
                <a:gd name="T13" fmla="*/ 46 h 68"/>
                <a:gd name="T14" fmla="*/ 55 w 157"/>
                <a:gd name="T15" fmla="*/ 67 h 68"/>
                <a:gd name="T16" fmla="*/ 106 w 157"/>
                <a:gd name="T17" fmla="*/ 67 h 68"/>
                <a:gd name="T18" fmla="*/ 127 w 157"/>
                <a:gd name="T19" fmla="*/ 46 h 68"/>
                <a:gd name="T20" fmla="*/ 148 w 157"/>
                <a:gd name="T21" fmla="*/ 67 h 68"/>
                <a:gd name="T22" fmla="*/ 157 w 157"/>
                <a:gd name="T23" fmla="*/ 56 h 68"/>
                <a:gd name="T24" fmla="*/ 121 w 157"/>
                <a:gd name="T25" fmla="*/ 25 h 68"/>
                <a:gd name="T26" fmla="*/ 57 w 157"/>
                <a:gd name="T27" fmla="*/ 26 h 68"/>
                <a:gd name="T28" fmla="*/ 38 w 157"/>
                <a:gd name="T29" fmla="*/ 26 h 68"/>
                <a:gd name="T30" fmla="*/ 38 w 157"/>
                <a:gd name="T31" fmla="*/ 23 h 68"/>
                <a:gd name="T32" fmla="*/ 57 w 157"/>
                <a:gd name="T33" fmla="*/ 8 h 68"/>
                <a:gd name="T34" fmla="*/ 57 w 157"/>
                <a:gd name="T35" fmla="*/ 26 h 68"/>
                <a:gd name="T36" fmla="*/ 94 w 157"/>
                <a:gd name="T37" fmla="*/ 26 h 68"/>
                <a:gd name="T38" fmla="*/ 63 w 157"/>
                <a:gd name="T39" fmla="*/ 26 h 68"/>
                <a:gd name="T40" fmla="*/ 63 w 157"/>
                <a:gd name="T41" fmla="*/ 6 h 68"/>
                <a:gd name="T42" fmla="*/ 89 w 157"/>
                <a:gd name="T43" fmla="*/ 6 h 68"/>
                <a:gd name="T44" fmla="*/ 94 w 157"/>
                <a:gd name="T45" fmla="*/ 10 h 68"/>
                <a:gd name="T46" fmla="*/ 94 w 157"/>
                <a:gd name="T47" fmla="*/ 26 h 68"/>
                <a:gd name="T48" fmla="*/ 108 w 157"/>
                <a:gd name="T49" fmla="*/ 26 h 68"/>
                <a:gd name="T50" fmla="*/ 100 w 157"/>
                <a:gd name="T51" fmla="*/ 26 h 68"/>
                <a:gd name="T52" fmla="*/ 100 w 157"/>
                <a:gd name="T53" fmla="*/ 15 h 68"/>
                <a:gd name="T54" fmla="*/ 108 w 157"/>
                <a:gd name="T55" fmla="*/ 23 h 68"/>
                <a:gd name="T56" fmla="*/ 108 w 157"/>
                <a:gd name="T57" fmla="*/ 26 h 68"/>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57"/>
                <a:gd name="T88" fmla="*/ 0 h 68"/>
                <a:gd name="T89" fmla="*/ 157 w 157"/>
                <a:gd name="T90" fmla="*/ 68 h 68"/>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57" h="68">
                  <a:moveTo>
                    <a:pt x="121" y="25"/>
                  </a:moveTo>
                  <a:cubicBezTo>
                    <a:pt x="110" y="20"/>
                    <a:pt x="100" y="0"/>
                    <a:pt x="94" y="0"/>
                  </a:cubicBezTo>
                  <a:cubicBezTo>
                    <a:pt x="87" y="0"/>
                    <a:pt x="61" y="0"/>
                    <a:pt x="56" y="0"/>
                  </a:cubicBezTo>
                  <a:cubicBezTo>
                    <a:pt x="51" y="0"/>
                    <a:pt x="29" y="25"/>
                    <a:pt x="23" y="25"/>
                  </a:cubicBezTo>
                  <a:cubicBezTo>
                    <a:pt x="23" y="25"/>
                    <a:pt x="0" y="28"/>
                    <a:pt x="0" y="51"/>
                  </a:cubicBezTo>
                  <a:cubicBezTo>
                    <a:pt x="0" y="68"/>
                    <a:pt x="13" y="67"/>
                    <a:pt x="13" y="67"/>
                  </a:cubicBezTo>
                  <a:cubicBezTo>
                    <a:pt x="13" y="55"/>
                    <a:pt x="23" y="46"/>
                    <a:pt x="34" y="46"/>
                  </a:cubicBezTo>
                  <a:cubicBezTo>
                    <a:pt x="46" y="46"/>
                    <a:pt x="55" y="55"/>
                    <a:pt x="55" y="67"/>
                  </a:cubicBezTo>
                  <a:cubicBezTo>
                    <a:pt x="106" y="67"/>
                    <a:pt x="106" y="67"/>
                    <a:pt x="106" y="67"/>
                  </a:cubicBezTo>
                  <a:cubicBezTo>
                    <a:pt x="106" y="55"/>
                    <a:pt x="116" y="46"/>
                    <a:pt x="127" y="46"/>
                  </a:cubicBezTo>
                  <a:cubicBezTo>
                    <a:pt x="139" y="46"/>
                    <a:pt x="148" y="55"/>
                    <a:pt x="148" y="67"/>
                  </a:cubicBezTo>
                  <a:cubicBezTo>
                    <a:pt x="148" y="67"/>
                    <a:pt x="157" y="68"/>
                    <a:pt x="157" y="56"/>
                  </a:cubicBezTo>
                  <a:cubicBezTo>
                    <a:pt x="157" y="44"/>
                    <a:pt x="143" y="25"/>
                    <a:pt x="121" y="25"/>
                  </a:cubicBezTo>
                  <a:close/>
                  <a:moveTo>
                    <a:pt x="57" y="26"/>
                  </a:moveTo>
                  <a:cubicBezTo>
                    <a:pt x="38" y="26"/>
                    <a:pt x="38" y="26"/>
                    <a:pt x="38" y="26"/>
                  </a:cubicBezTo>
                  <a:cubicBezTo>
                    <a:pt x="38" y="23"/>
                    <a:pt x="38" y="23"/>
                    <a:pt x="38" y="23"/>
                  </a:cubicBezTo>
                  <a:cubicBezTo>
                    <a:pt x="57" y="8"/>
                    <a:pt x="57" y="8"/>
                    <a:pt x="57" y="8"/>
                  </a:cubicBezTo>
                  <a:lnTo>
                    <a:pt x="57" y="26"/>
                  </a:lnTo>
                  <a:close/>
                  <a:moveTo>
                    <a:pt x="94" y="26"/>
                  </a:moveTo>
                  <a:cubicBezTo>
                    <a:pt x="63" y="26"/>
                    <a:pt x="63" y="26"/>
                    <a:pt x="63" y="26"/>
                  </a:cubicBezTo>
                  <a:cubicBezTo>
                    <a:pt x="63" y="6"/>
                    <a:pt x="63" y="6"/>
                    <a:pt x="63" y="6"/>
                  </a:cubicBezTo>
                  <a:cubicBezTo>
                    <a:pt x="89" y="6"/>
                    <a:pt x="89" y="6"/>
                    <a:pt x="89" y="6"/>
                  </a:cubicBezTo>
                  <a:cubicBezTo>
                    <a:pt x="94" y="10"/>
                    <a:pt x="94" y="10"/>
                    <a:pt x="94" y="10"/>
                  </a:cubicBezTo>
                  <a:lnTo>
                    <a:pt x="94" y="26"/>
                  </a:lnTo>
                  <a:close/>
                  <a:moveTo>
                    <a:pt x="108" y="26"/>
                  </a:moveTo>
                  <a:cubicBezTo>
                    <a:pt x="100" y="26"/>
                    <a:pt x="100" y="26"/>
                    <a:pt x="100" y="26"/>
                  </a:cubicBezTo>
                  <a:cubicBezTo>
                    <a:pt x="100" y="15"/>
                    <a:pt x="100" y="15"/>
                    <a:pt x="100" y="15"/>
                  </a:cubicBezTo>
                  <a:cubicBezTo>
                    <a:pt x="108" y="23"/>
                    <a:pt x="108" y="23"/>
                    <a:pt x="108" y="23"/>
                  </a:cubicBezTo>
                  <a:lnTo>
                    <a:pt x="108"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pic>
        <p:nvPicPr>
          <p:cNvPr id="51" name="Picture 12" descr="Bilderesultat for wifi waves white"/>
          <p:cNvPicPr>
            <a:picLocks noChangeAspect="1" noChangeArrowheads="1"/>
          </p:cNvPicPr>
          <p:nvPr/>
        </p:nvPicPr>
        <p:blipFill>
          <a:blip r:embed="rId4" cstate="print">
            <a:clrChange>
              <a:clrFrom>
                <a:srgbClr val="FFFFFF"/>
              </a:clrFrom>
              <a:clrTo>
                <a:srgbClr val="FFFFFF">
                  <a:alpha val="0"/>
                </a:srgbClr>
              </a:clrTo>
            </a:clrChange>
            <a:lum bright="70000" contrast="-70000"/>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val="0"/>
              </a:ext>
            </a:extLst>
          </a:blip>
          <a:srcRect/>
          <a:stretch>
            <a:fillRect/>
          </a:stretch>
        </p:blipFill>
        <p:spPr bwMode="auto">
          <a:xfrm rot="13491791">
            <a:off x="6682785" y="3540283"/>
            <a:ext cx="286263" cy="286263"/>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12" descr="Bilderesultat for wifi waves white"/>
          <p:cNvPicPr>
            <a:picLocks noChangeAspect="1" noChangeArrowheads="1"/>
          </p:cNvPicPr>
          <p:nvPr/>
        </p:nvPicPr>
        <p:blipFill>
          <a:blip r:embed="rId4" cstate="print">
            <a:clrChange>
              <a:clrFrom>
                <a:srgbClr val="FFFFFF"/>
              </a:clrFrom>
              <a:clrTo>
                <a:srgbClr val="FFFFFF">
                  <a:alpha val="0"/>
                </a:srgbClr>
              </a:clrTo>
            </a:clrChange>
            <a:lum bright="70000" contrast="-70000"/>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val="0"/>
              </a:ext>
            </a:extLst>
          </a:blip>
          <a:srcRect/>
          <a:stretch>
            <a:fillRect/>
          </a:stretch>
        </p:blipFill>
        <p:spPr bwMode="auto">
          <a:xfrm rot="2747886">
            <a:off x="8314232" y="3540282"/>
            <a:ext cx="286263" cy="2862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43444520"/>
      </p:ext>
    </p:extLst>
  </p:cSld>
  <p:clrMapOvr>
    <a:masterClrMapping/>
  </p:clrMapOvr>
  <p:transition spd="slow"/>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8" name="think-cell Slide" r:id="rId4" imgW="338" imgH="338" progId="TCLayout.ActiveDocument.1">
                  <p:embed/>
                </p:oleObj>
              </mc:Choice>
              <mc:Fallback>
                <p:oleObj name="think-cell Slide" r:id="rId4" imgW="338" imgH="338"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a:xfrm>
            <a:off x="334434" y="416762"/>
            <a:ext cx="11523133" cy="635751"/>
          </a:xfrm>
        </p:spPr>
        <p:txBody>
          <a:bodyPr/>
          <a:lstStyle/>
          <a:p>
            <a:r>
              <a:rPr lang="en-US" dirty="0"/>
              <a:t>Next generation transportation systems </a:t>
            </a:r>
            <a:r>
              <a:rPr lang="en-US" dirty="0" smtClean="0"/>
              <a:t>will integrate different modes of transport in a completely different system than what we experience today</a:t>
            </a:r>
            <a:endParaRPr lang="en-US" dirty="0"/>
          </a:p>
        </p:txBody>
      </p:sp>
      <p:sp>
        <p:nvSpPr>
          <p:cNvPr id="177" name="TextBox 2"/>
          <p:cNvSpPr txBox="1"/>
          <p:nvPr/>
        </p:nvSpPr>
        <p:spPr>
          <a:xfrm>
            <a:off x="334434" y="1236528"/>
            <a:ext cx="6811084" cy="249299"/>
          </a:xfrm>
          <a:prstGeom prst="rect">
            <a:avLst/>
          </a:prstGeom>
          <a:noFill/>
          <a:ln w="6350" cap="flat">
            <a:noFill/>
            <a:miter lim="800000"/>
          </a:ln>
          <a:extLst>
            <a:ext uri="{909E8E84-426E-40DD-AFC4-6F175D3DCCD1}">
              <a14:hiddenFill xmlns:a14="http://schemas.microsoft.com/office/drawing/2010/main">
                <a:solidFill>
                  <a:srgbClr val="A5FFFF"/>
                </a:solidFill>
              </a14:hiddenFill>
            </a:ext>
          </a:extLst>
        </p:spPr>
        <p:txBody>
          <a:bodyPr vert="horz" wrap="square" lIns="0" tIns="0" rIns="0" bIns="0" rtlCol="0" anchor="t" anchorCtr="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spcBef>
                <a:spcPct val="0"/>
              </a:spcBef>
              <a:spcAft>
                <a:spcPct val="0"/>
              </a:spcAft>
              <a:buClr>
                <a:schemeClr val="bg2"/>
              </a:buClr>
            </a:pPr>
            <a:r>
              <a:rPr lang="en-US" b="1" dirty="0">
                <a:latin typeface="Arial" panose="020B0604020202020204" pitchFamily="34" charset="0"/>
                <a:cs typeface="Arial" panose="020B0604020202020204" pitchFamily="34" charset="0"/>
              </a:rPr>
              <a:t>Intermodal mobility system</a:t>
            </a:r>
          </a:p>
        </p:txBody>
      </p:sp>
      <p:grpSp>
        <p:nvGrpSpPr>
          <p:cNvPr id="174" name="Group 173"/>
          <p:cNvGrpSpPr/>
          <p:nvPr/>
        </p:nvGrpSpPr>
        <p:grpSpPr>
          <a:xfrm>
            <a:off x="1523745" y="1729089"/>
            <a:ext cx="9144510" cy="3661317"/>
            <a:chOff x="1523745" y="1729089"/>
            <a:chExt cx="9144510" cy="3661317"/>
          </a:xfrm>
        </p:grpSpPr>
        <p:sp>
          <p:nvSpPr>
            <p:cNvPr id="137" name="Rounded Rectangle 136"/>
            <p:cNvSpPr/>
            <p:nvPr/>
          </p:nvSpPr>
          <p:spPr>
            <a:xfrm>
              <a:off x="3444211" y="2413165"/>
              <a:ext cx="5297037" cy="2196244"/>
            </a:xfrm>
            <a:prstGeom prst="roundRect">
              <a:avLst/>
            </a:prstGeom>
            <a:solidFill>
              <a:schemeClr val="accent3">
                <a:lumMod val="20000"/>
                <a:lumOff val="80000"/>
              </a:schemeClr>
            </a:solidFill>
            <a:ln w="28575" cap="flat">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sp>
          <p:nvSpPr>
            <p:cNvPr id="5" name="Rectangle 4"/>
            <p:cNvSpPr/>
            <p:nvPr/>
          </p:nvSpPr>
          <p:spPr>
            <a:xfrm>
              <a:off x="1523745" y="3313265"/>
              <a:ext cx="9139238" cy="400302"/>
            </a:xfrm>
            <a:prstGeom prst="rect">
              <a:avLst/>
            </a:prstGeom>
            <a:solidFill>
              <a:schemeClr val="tx2">
                <a:lumMod val="40000"/>
                <a:lumOff val="6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sp>
          <p:nvSpPr>
            <p:cNvPr id="6" name="Pie 5"/>
            <p:cNvSpPr/>
            <p:nvPr/>
          </p:nvSpPr>
          <p:spPr>
            <a:xfrm>
              <a:off x="1612565" y="3295768"/>
              <a:ext cx="914400" cy="914400"/>
            </a:xfrm>
            <a:prstGeom prst="pie">
              <a:avLst>
                <a:gd name="adj1" fmla="val 10745356"/>
                <a:gd name="adj2" fmla="val 32433"/>
              </a:avLst>
            </a:prstGeom>
            <a:solidFill>
              <a:schemeClr val="bg1"/>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sp>
          <p:nvSpPr>
            <p:cNvPr id="7" name="Pie 6"/>
            <p:cNvSpPr/>
            <p:nvPr/>
          </p:nvSpPr>
          <p:spPr>
            <a:xfrm>
              <a:off x="3511553" y="3295768"/>
              <a:ext cx="914400" cy="914400"/>
            </a:xfrm>
            <a:prstGeom prst="pie">
              <a:avLst>
                <a:gd name="adj1" fmla="val 10745356"/>
                <a:gd name="adj2" fmla="val 32433"/>
              </a:avLst>
            </a:prstGeom>
            <a:solidFill>
              <a:schemeClr val="bg1"/>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sp>
          <p:nvSpPr>
            <p:cNvPr id="8" name="Pie 7"/>
            <p:cNvSpPr/>
            <p:nvPr/>
          </p:nvSpPr>
          <p:spPr>
            <a:xfrm>
              <a:off x="5620766" y="3295768"/>
              <a:ext cx="914400" cy="914400"/>
            </a:xfrm>
            <a:prstGeom prst="pie">
              <a:avLst>
                <a:gd name="adj1" fmla="val 10745356"/>
                <a:gd name="adj2" fmla="val 32433"/>
              </a:avLst>
            </a:prstGeom>
            <a:solidFill>
              <a:schemeClr val="bg1"/>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sp>
          <p:nvSpPr>
            <p:cNvPr id="9" name="Pie 8"/>
            <p:cNvSpPr/>
            <p:nvPr/>
          </p:nvSpPr>
          <p:spPr>
            <a:xfrm>
              <a:off x="7420129" y="3295768"/>
              <a:ext cx="914400" cy="914400"/>
            </a:xfrm>
            <a:prstGeom prst="pie">
              <a:avLst>
                <a:gd name="adj1" fmla="val 10745356"/>
                <a:gd name="adj2" fmla="val 32433"/>
              </a:avLst>
            </a:prstGeom>
            <a:solidFill>
              <a:schemeClr val="bg1"/>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sp>
          <p:nvSpPr>
            <p:cNvPr id="10" name="Pie 9"/>
            <p:cNvSpPr/>
            <p:nvPr/>
          </p:nvSpPr>
          <p:spPr>
            <a:xfrm>
              <a:off x="9556145" y="3295768"/>
              <a:ext cx="914400" cy="914400"/>
            </a:xfrm>
            <a:prstGeom prst="pie">
              <a:avLst>
                <a:gd name="adj1" fmla="val 10745356"/>
                <a:gd name="adj2" fmla="val 32433"/>
              </a:avLst>
            </a:prstGeom>
            <a:solidFill>
              <a:schemeClr val="bg1"/>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sp>
          <p:nvSpPr>
            <p:cNvPr id="11" name="Rectangle 10"/>
            <p:cNvSpPr/>
            <p:nvPr/>
          </p:nvSpPr>
          <p:spPr>
            <a:xfrm>
              <a:off x="1524254" y="4205423"/>
              <a:ext cx="9144000" cy="79950"/>
            </a:xfrm>
            <a:prstGeom prst="rect">
              <a:avLst/>
            </a:prstGeom>
            <a:solidFill>
              <a:schemeClr val="tx2"/>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sp>
          <p:nvSpPr>
            <p:cNvPr id="12" name="Rectangle 11"/>
            <p:cNvSpPr/>
            <p:nvPr/>
          </p:nvSpPr>
          <p:spPr>
            <a:xfrm>
              <a:off x="1527428" y="3608556"/>
              <a:ext cx="9139238" cy="532801"/>
            </a:xfrm>
            <a:prstGeom prst="rect">
              <a:avLst/>
            </a:prstGeom>
            <a:solidFill>
              <a:schemeClr val="tx2"/>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grpSp>
          <p:nvGrpSpPr>
            <p:cNvPr id="13" name="Group 12"/>
            <p:cNvGrpSpPr/>
            <p:nvPr/>
          </p:nvGrpSpPr>
          <p:grpSpPr>
            <a:xfrm>
              <a:off x="2380849" y="2886017"/>
              <a:ext cx="3362357" cy="416576"/>
              <a:chOff x="503548" y="3354056"/>
              <a:chExt cx="4068452" cy="504056"/>
            </a:xfrm>
          </p:grpSpPr>
          <p:sp>
            <p:nvSpPr>
              <p:cNvPr id="14" name="Rounded Rectangle 13"/>
              <p:cNvSpPr/>
              <p:nvPr/>
            </p:nvSpPr>
            <p:spPr>
              <a:xfrm>
                <a:off x="503548" y="3354056"/>
                <a:ext cx="1332148" cy="504056"/>
              </a:xfrm>
              <a:prstGeom prst="roundRect">
                <a:avLst/>
              </a:prstGeom>
              <a:solidFill>
                <a:schemeClr val="accent3"/>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sp>
            <p:nvSpPr>
              <p:cNvPr id="15" name="Rounded Rectangle 14"/>
              <p:cNvSpPr/>
              <p:nvPr/>
            </p:nvSpPr>
            <p:spPr>
              <a:xfrm>
                <a:off x="1871700" y="3354056"/>
                <a:ext cx="1332148" cy="504056"/>
              </a:xfrm>
              <a:prstGeom prst="roundRect">
                <a:avLst/>
              </a:prstGeom>
              <a:solidFill>
                <a:schemeClr val="accent3"/>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sp>
            <p:nvSpPr>
              <p:cNvPr id="16" name="Rounded Rectangle 15"/>
              <p:cNvSpPr/>
              <p:nvPr/>
            </p:nvSpPr>
            <p:spPr>
              <a:xfrm>
                <a:off x="3239852" y="3354056"/>
                <a:ext cx="1332148" cy="504056"/>
              </a:xfrm>
              <a:prstGeom prst="roundRect">
                <a:avLst/>
              </a:prstGeom>
              <a:solidFill>
                <a:schemeClr val="accent3"/>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sp>
            <p:nvSpPr>
              <p:cNvPr id="17" name="Rounded Rectangle 16"/>
              <p:cNvSpPr/>
              <p:nvPr/>
            </p:nvSpPr>
            <p:spPr>
              <a:xfrm>
                <a:off x="575556" y="3410998"/>
                <a:ext cx="180020" cy="180020"/>
              </a:xfrm>
              <a:prstGeom prst="roundRect">
                <a:avLst/>
              </a:prstGeom>
              <a:solidFill>
                <a:schemeClr val="bg1"/>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sp>
            <p:nvSpPr>
              <p:cNvPr id="18" name="Rounded Rectangle 17"/>
              <p:cNvSpPr/>
              <p:nvPr/>
            </p:nvSpPr>
            <p:spPr>
              <a:xfrm>
                <a:off x="827584" y="3410998"/>
                <a:ext cx="180020" cy="180020"/>
              </a:xfrm>
              <a:prstGeom prst="roundRect">
                <a:avLst/>
              </a:prstGeom>
              <a:solidFill>
                <a:schemeClr val="bg1"/>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sp>
            <p:nvSpPr>
              <p:cNvPr id="19" name="Rounded Rectangle 18"/>
              <p:cNvSpPr/>
              <p:nvPr/>
            </p:nvSpPr>
            <p:spPr>
              <a:xfrm>
                <a:off x="1079612" y="3410998"/>
                <a:ext cx="180020" cy="180020"/>
              </a:xfrm>
              <a:prstGeom prst="roundRect">
                <a:avLst/>
              </a:prstGeom>
              <a:solidFill>
                <a:schemeClr val="bg1"/>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sp>
            <p:nvSpPr>
              <p:cNvPr id="20" name="Rounded Rectangle 19"/>
              <p:cNvSpPr/>
              <p:nvPr/>
            </p:nvSpPr>
            <p:spPr>
              <a:xfrm>
                <a:off x="1583668" y="3410998"/>
                <a:ext cx="180020" cy="180020"/>
              </a:xfrm>
              <a:prstGeom prst="roundRect">
                <a:avLst/>
              </a:prstGeom>
              <a:solidFill>
                <a:schemeClr val="bg1"/>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sp>
            <p:nvSpPr>
              <p:cNvPr id="21" name="Rounded Rectangle 20"/>
              <p:cNvSpPr/>
              <p:nvPr/>
            </p:nvSpPr>
            <p:spPr>
              <a:xfrm>
                <a:off x="1331640" y="3410998"/>
                <a:ext cx="180020" cy="350811"/>
              </a:xfrm>
              <a:prstGeom prst="roundRect">
                <a:avLst/>
              </a:prstGeom>
              <a:solidFill>
                <a:schemeClr val="bg1"/>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sp>
            <p:nvSpPr>
              <p:cNvPr id="22" name="Rounded Rectangle 21"/>
              <p:cNvSpPr/>
              <p:nvPr/>
            </p:nvSpPr>
            <p:spPr>
              <a:xfrm>
                <a:off x="1936760" y="3410997"/>
                <a:ext cx="180020" cy="180020"/>
              </a:xfrm>
              <a:prstGeom prst="roundRect">
                <a:avLst/>
              </a:prstGeom>
              <a:solidFill>
                <a:schemeClr val="bg1"/>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sp>
            <p:nvSpPr>
              <p:cNvPr id="23" name="Rounded Rectangle 22"/>
              <p:cNvSpPr/>
              <p:nvPr/>
            </p:nvSpPr>
            <p:spPr>
              <a:xfrm>
                <a:off x="2188788" y="3410997"/>
                <a:ext cx="180020" cy="180020"/>
              </a:xfrm>
              <a:prstGeom prst="roundRect">
                <a:avLst/>
              </a:prstGeom>
              <a:solidFill>
                <a:schemeClr val="bg1"/>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sp>
            <p:nvSpPr>
              <p:cNvPr id="24" name="Rounded Rectangle 23"/>
              <p:cNvSpPr/>
              <p:nvPr/>
            </p:nvSpPr>
            <p:spPr>
              <a:xfrm>
                <a:off x="2440816" y="3410997"/>
                <a:ext cx="180020" cy="180020"/>
              </a:xfrm>
              <a:prstGeom prst="roundRect">
                <a:avLst/>
              </a:prstGeom>
              <a:solidFill>
                <a:schemeClr val="bg1"/>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sp>
            <p:nvSpPr>
              <p:cNvPr id="25" name="Rounded Rectangle 24"/>
              <p:cNvSpPr/>
              <p:nvPr/>
            </p:nvSpPr>
            <p:spPr>
              <a:xfrm>
                <a:off x="2944872" y="3410997"/>
                <a:ext cx="180020" cy="180020"/>
              </a:xfrm>
              <a:prstGeom prst="roundRect">
                <a:avLst/>
              </a:prstGeom>
              <a:solidFill>
                <a:schemeClr val="bg1"/>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sp>
            <p:nvSpPr>
              <p:cNvPr id="26" name="Rounded Rectangle 25"/>
              <p:cNvSpPr/>
              <p:nvPr/>
            </p:nvSpPr>
            <p:spPr>
              <a:xfrm>
                <a:off x="2692844" y="3410997"/>
                <a:ext cx="180020" cy="350811"/>
              </a:xfrm>
              <a:prstGeom prst="roundRect">
                <a:avLst/>
              </a:prstGeom>
              <a:solidFill>
                <a:schemeClr val="bg1"/>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sp>
            <p:nvSpPr>
              <p:cNvPr id="27" name="Rounded Rectangle 26"/>
              <p:cNvSpPr/>
              <p:nvPr/>
            </p:nvSpPr>
            <p:spPr>
              <a:xfrm>
                <a:off x="3311860" y="3410996"/>
                <a:ext cx="180020" cy="180020"/>
              </a:xfrm>
              <a:prstGeom prst="roundRect">
                <a:avLst/>
              </a:prstGeom>
              <a:solidFill>
                <a:schemeClr val="bg1"/>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sp>
            <p:nvSpPr>
              <p:cNvPr id="28" name="Rounded Rectangle 27"/>
              <p:cNvSpPr/>
              <p:nvPr/>
            </p:nvSpPr>
            <p:spPr>
              <a:xfrm>
                <a:off x="3563888" y="3410996"/>
                <a:ext cx="180020" cy="180020"/>
              </a:xfrm>
              <a:prstGeom prst="roundRect">
                <a:avLst/>
              </a:prstGeom>
              <a:solidFill>
                <a:schemeClr val="bg1"/>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sp>
            <p:nvSpPr>
              <p:cNvPr id="29" name="Rounded Rectangle 28"/>
              <p:cNvSpPr/>
              <p:nvPr/>
            </p:nvSpPr>
            <p:spPr>
              <a:xfrm>
                <a:off x="3815916" y="3410996"/>
                <a:ext cx="180020" cy="180020"/>
              </a:xfrm>
              <a:prstGeom prst="roundRect">
                <a:avLst/>
              </a:prstGeom>
              <a:solidFill>
                <a:schemeClr val="bg1"/>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sp>
            <p:nvSpPr>
              <p:cNvPr id="30" name="Rounded Rectangle 29"/>
              <p:cNvSpPr/>
              <p:nvPr/>
            </p:nvSpPr>
            <p:spPr>
              <a:xfrm>
                <a:off x="4319972" y="3410996"/>
                <a:ext cx="180020" cy="180020"/>
              </a:xfrm>
              <a:prstGeom prst="roundRect">
                <a:avLst/>
              </a:prstGeom>
              <a:solidFill>
                <a:schemeClr val="bg1"/>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sp>
            <p:nvSpPr>
              <p:cNvPr id="31" name="Rounded Rectangle 30"/>
              <p:cNvSpPr/>
              <p:nvPr/>
            </p:nvSpPr>
            <p:spPr>
              <a:xfrm>
                <a:off x="4067944" y="3410996"/>
                <a:ext cx="180020" cy="350811"/>
              </a:xfrm>
              <a:prstGeom prst="roundRect">
                <a:avLst/>
              </a:prstGeom>
              <a:solidFill>
                <a:schemeClr val="bg1"/>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grpSp>
        <p:cxnSp>
          <p:nvCxnSpPr>
            <p:cNvPr id="32" name="Straight Connector 31"/>
            <p:cNvCxnSpPr/>
            <p:nvPr/>
          </p:nvCxnSpPr>
          <p:spPr>
            <a:xfrm flipH="1">
              <a:off x="9916589" y="3302593"/>
              <a:ext cx="751666" cy="1"/>
            </a:xfrm>
            <a:prstGeom prst="line">
              <a:avLst/>
            </a:prstGeom>
            <a:ln w="28575" cap="flat">
              <a:solidFill>
                <a:schemeClr val="accent4"/>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3" name="Group 32"/>
            <p:cNvGrpSpPr/>
            <p:nvPr/>
          </p:nvGrpSpPr>
          <p:grpSpPr>
            <a:xfrm>
              <a:off x="2038528" y="4052199"/>
              <a:ext cx="391573" cy="217850"/>
              <a:chOff x="1518422" y="4439774"/>
              <a:chExt cx="391573" cy="217850"/>
            </a:xfrm>
          </p:grpSpPr>
          <p:sp>
            <p:nvSpPr>
              <p:cNvPr id="34" name="Oval 33"/>
              <p:cNvSpPr/>
              <p:nvPr/>
            </p:nvSpPr>
            <p:spPr>
              <a:xfrm>
                <a:off x="1518422" y="4522372"/>
                <a:ext cx="135252" cy="135252"/>
              </a:xfrm>
              <a:prstGeom prst="ellipse">
                <a:avLst/>
              </a:prstGeom>
              <a:noFill/>
              <a:ln w="19050" cap="flat">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sp>
            <p:nvSpPr>
              <p:cNvPr id="35" name="Oval 34"/>
              <p:cNvSpPr/>
              <p:nvPr/>
            </p:nvSpPr>
            <p:spPr>
              <a:xfrm>
                <a:off x="1774743" y="4522372"/>
                <a:ext cx="135252" cy="135252"/>
              </a:xfrm>
              <a:prstGeom prst="ellipse">
                <a:avLst/>
              </a:prstGeom>
              <a:noFill/>
              <a:ln w="19050" cap="flat">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cxnSp>
            <p:nvCxnSpPr>
              <p:cNvPr id="36" name="Straight Connector 35"/>
              <p:cNvCxnSpPr/>
              <p:nvPr/>
            </p:nvCxnSpPr>
            <p:spPr>
              <a:xfrm>
                <a:off x="1644645" y="4487072"/>
                <a:ext cx="184758" cy="0"/>
              </a:xfrm>
              <a:prstGeom prst="line">
                <a:avLst/>
              </a:prstGeom>
              <a:ln w="19050" cap="flat">
                <a:solidFill>
                  <a:schemeClr val="accent3"/>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a:stCxn id="41" idx="2"/>
              </p:cNvCxnSpPr>
              <p:nvPr/>
            </p:nvCxnSpPr>
            <p:spPr>
              <a:xfrm>
                <a:off x="1639763" y="4462718"/>
                <a:ext cx="27521" cy="140833"/>
              </a:xfrm>
              <a:prstGeom prst="line">
                <a:avLst/>
              </a:prstGeom>
              <a:ln w="19050" cap="flat">
                <a:solidFill>
                  <a:schemeClr val="accent3"/>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H="1">
                <a:off x="1669839" y="4487072"/>
                <a:ext cx="159564" cy="116479"/>
              </a:xfrm>
              <a:prstGeom prst="line">
                <a:avLst/>
              </a:prstGeom>
              <a:ln w="19050" cap="flat">
                <a:solidFill>
                  <a:schemeClr val="accent3"/>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1822320" y="4455478"/>
                <a:ext cx="17888" cy="151095"/>
              </a:xfrm>
              <a:prstGeom prst="line">
                <a:avLst/>
              </a:prstGeom>
              <a:ln w="19050" cap="flat">
                <a:solidFill>
                  <a:schemeClr val="accent3"/>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flipH="1">
                <a:off x="1787413" y="4460022"/>
                <a:ext cx="39435" cy="0"/>
              </a:xfrm>
              <a:prstGeom prst="line">
                <a:avLst/>
              </a:prstGeom>
              <a:ln w="19050" cap="flat">
                <a:solidFill>
                  <a:schemeClr val="accent3"/>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1" name="Rounded Rectangle 40"/>
              <p:cNvSpPr/>
              <p:nvPr/>
            </p:nvSpPr>
            <p:spPr>
              <a:xfrm>
                <a:off x="1615145" y="4439774"/>
                <a:ext cx="49235" cy="22944"/>
              </a:xfrm>
              <a:prstGeom prst="roundRect">
                <a:avLst/>
              </a:prstGeom>
              <a:solidFill>
                <a:schemeClr val="accent3"/>
              </a:solidFill>
              <a:ln w="190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cxnSp>
            <p:nvCxnSpPr>
              <p:cNvPr id="42" name="Straight Connector 41"/>
              <p:cNvCxnSpPr/>
              <p:nvPr/>
            </p:nvCxnSpPr>
            <p:spPr>
              <a:xfrm flipH="1">
                <a:off x="1586048" y="4486062"/>
                <a:ext cx="58597" cy="103936"/>
              </a:xfrm>
              <a:prstGeom prst="line">
                <a:avLst/>
              </a:prstGeom>
              <a:ln w="19050" cap="flat">
                <a:solidFill>
                  <a:schemeClr val="accent3"/>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a:stCxn id="34" idx="6"/>
              </p:cNvCxnSpPr>
              <p:nvPr/>
            </p:nvCxnSpPr>
            <p:spPr>
              <a:xfrm flipH="1">
                <a:off x="1586050" y="4589998"/>
                <a:ext cx="67624" cy="1"/>
              </a:xfrm>
              <a:prstGeom prst="line">
                <a:avLst/>
              </a:prstGeom>
              <a:ln w="19050" cap="flat">
                <a:solidFill>
                  <a:schemeClr val="accent3"/>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44" name="Group 43"/>
            <p:cNvGrpSpPr/>
            <p:nvPr/>
          </p:nvGrpSpPr>
          <p:grpSpPr>
            <a:xfrm>
              <a:off x="2535822" y="4052199"/>
              <a:ext cx="391573" cy="217850"/>
              <a:chOff x="1518422" y="4439774"/>
              <a:chExt cx="391573" cy="217850"/>
            </a:xfrm>
          </p:grpSpPr>
          <p:sp>
            <p:nvSpPr>
              <p:cNvPr id="45" name="Oval 44"/>
              <p:cNvSpPr/>
              <p:nvPr/>
            </p:nvSpPr>
            <p:spPr>
              <a:xfrm>
                <a:off x="1518422" y="4522372"/>
                <a:ext cx="135252" cy="135252"/>
              </a:xfrm>
              <a:prstGeom prst="ellipse">
                <a:avLst/>
              </a:prstGeom>
              <a:noFill/>
              <a:ln w="19050" cap="flat">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sp>
            <p:nvSpPr>
              <p:cNvPr id="46" name="Oval 45"/>
              <p:cNvSpPr/>
              <p:nvPr/>
            </p:nvSpPr>
            <p:spPr>
              <a:xfrm>
                <a:off x="1774743" y="4522372"/>
                <a:ext cx="135252" cy="135252"/>
              </a:xfrm>
              <a:prstGeom prst="ellipse">
                <a:avLst/>
              </a:prstGeom>
              <a:noFill/>
              <a:ln w="19050" cap="flat">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cxnSp>
            <p:nvCxnSpPr>
              <p:cNvPr id="47" name="Straight Connector 46"/>
              <p:cNvCxnSpPr/>
              <p:nvPr/>
            </p:nvCxnSpPr>
            <p:spPr>
              <a:xfrm>
                <a:off x="1644645" y="4487072"/>
                <a:ext cx="184758" cy="0"/>
              </a:xfrm>
              <a:prstGeom prst="line">
                <a:avLst/>
              </a:prstGeom>
              <a:ln w="19050" cap="flat">
                <a:solidFill>
                  <a:schemeClr val="accent3"/>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a:stCxn id="52" idx="2"/>
              </p:cNvCxnSpPr>
              <p:nvPr/>
            </p:nvCxnSpPr>
            <p:spPr>
              <a:xfrm>
                <a:off x="1639763" y="4462718"/>
                <a:ext cx="27521" cy="140833"/>
              </a:xfrm>
              <a:prstGeom prst="line">
                <a:avLst/>
              </a:prstGeom>
              <a:ln w="19050" cap="flat">
                <a:solidFill>
                  <a:schemeClr val="accent3"/>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flipH="1">
                <a:off x="1669839" y="4487072"/>
                <a:ext cx="159564" cy="116479"/>
              </a:xfrm>
              <a:prstGeom prst="line">
                <a:avLst/>
              </a:prstGeom>
              <a:ln w="19050" cap="flat">
                <a:solidFill>
                  <a:schemeClr val="accent3"/>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1822320" y="4455478"/>
                <a:ext cx="17888" cy="151095"/>
              </a:xfrm>
              <a:prstGeom prst="line">
                <a:avLst/>
              </a:prstGeom>
              <a:ln w="19050" cap="flat">
                <a:solidFill>
                  <a:schemeClr val="accent3"/>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flipH="1">
                <a:off x="1787413" y="4460022"/>
                <a:ext cx="39435" cy="0"/>
              </a:xfrm>
              <a:prstGeom prst="line">
                <a:avLst/>
              </a:prstGeom>
              <a:ln w="19050" cap="flat">
                <a:solidFill>
                  <a:schemeClr val="accent3"/>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2" name="Rounded Rectangle 51"/>
              <p:cNvSpPr/>
              <p:nvPr/>
            </p:nvSpPr>
            <p:spPr>
              <a:xfrm>
                <a:off x="1615145" y="4439774"/>
                <a:ext cx="49235" cy="22944"/>
              </a:xfrm>
              <a:prstGeom prst="roundRect">
                <a:avLst/>
              </a:prstGeom>
              <a:solidFill>
                <a:schemeClr val="accent3"/>
              </a:solidFill>
              <a:ln w="190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cxnSp>
            <p:nvCxnSpPr>
              <p:cNvPr id="53" name="Straight Connector 52"/>
              <p:cNvCxnSpPr/>
              <p:nvPr/>
            </p:nvCxnSpPr>
            <p:spPr>
              <a:xfrm flipH="1">
                <a:off x="1586048" y="4486062"/>
                <a:ext cx="58597" cy="103936"/>
              </a:xfrm>
              <a:prstGeom prst="line">
                <a:avLst/>
              </a:prstGeom>
              <a:ln w="19050" cap="flat">
                <a:solidFill>
                  <a:schemeClr val="accent3"/>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a:stCxn id="45" idx="6"/>
              </p:cNvCxnSpPr>
              <p:nvPr/>
            </p:nvCxnSpPr>
            <p:spPr>
              <a:xfrm flipH="1">
                <a:off x="1586050" y="4589998"/>
                <a:ext cx="67624" cy="1"/>
              </a:xfrm>
              <a:prstGeom prst="line">
                <a:avLst/>
              </a:prstGeom>
              <a:ln w="19050" cap="flat">
                <a:solidFill>
                  <a:schemeClr val="accent3"/>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55" name="Group 54"/>
            <p:cNvGrpSpPr/>
            <p:nvPr/>
          </p:nvGrpSpPr>
          <p:grpSpPr>
            <a:xfrm>
              <a:off x="5956708" y="4052199"/>
              <a:ext cx="391573" cy="217850"/>
              <a:chOff x="1518422" y="4439774"/>
              <a:chExt cx="391573" cy="217850"/>
            </a:xfrm>
          </p:grpSpPr>
          <p:sp>
            <p:nvSpPr>
              <p:cNvPr id="56" name="Oval 55"/>
              <p:cNvSpPr/>
              <p:nvPr/>
            </p:nvSpPr>
            <p:spPr>
              <a:xfrm>
                <a:off x="1518422" y="4522372"/>
                <a:ext cx="135252" cy="135252"/>
              </a:xfrm>
              <a:prstGeom prst="ellipse">
                <a:avLst/>
              </a:prstGeom>
              <a:noFill/>
              <a:ln w="19050" cap="flat">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sp>
            <p:nvSpPr>
              <p:cNvPr id="57" name="Oval 56"/>
              <p:cNvSpPr/>
              <p:nvPr/>
            </p:nvSpPr>
            <p:spPr>
              <a:xfrm>
                <a:off x="1774743" y="4522372"/>
                <a:ext cx="135252" cy="135252"/>
              </a:xfrm>
              <a:prstGeom prst="ellipse">
                <a:avLst/>
              </a:prstGeom>
              <a:noFill/>
              <a:ln w="19050" cap="flat">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cxnSp>
            <p:nvCxnSpPr>
              <p:cNvPr id="58" name="Straight Connector 57"/>
              <p:cNvCxnSpPr/>
              <p:nvPr/>
            </p:nvCxnSpPr>
            <p:spPr>
              <a:xfrm>
                <a:off x="1644645" y="4487072"/>
                <a:ext cx="184758" cy="0"/>
              </a:xfrm>
              <a:prstGeom prst="line">
                <a:avLst/>
              </a:prstGeom>
              <a:ln w="19050" cap="flat">
                <a:solidFill>
                  <a:schemeClr val="accent3"/>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a:stCxn id="63" idx="2"/>
              </p:cNvCxnSpPr>
              <p:nvPr/>
            </p:nvCxnSpPr>
            <p:spPr>
              <a:xfrm>
                <a:off x="1639763" y="4462718"/>
                <a:ext cx="27521" cy="140833"/>
              </a:xfrm>
              <a:prstGeom prst="line">
                <a:avLst/>
              </a:prstGeom>
              <a:ln w="19050" cap="flat">
                <a:solidFill>
                  <a:schemeClr val="accent3"/>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flipH="1">
                <a:off x="1669839" y="4487072"/>
                <a:ext cx="159564" cy="116479"/>
              </a:xfrm>
              <a:prstGeom prst="line">
                <a:avLst/>
              </a:prstGeom>
              <a:ln w="19050" cap="flat">
                <a:solidFill>
                  <a:schemeClr val="accent3"/>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a:off x="1822320" y="4455478"/>
                <a:ext cx="17888" cy="151095"/>
              </a:xfrm>
              <a:prstGeom prst="line">
                <a:avLst/>
              </a:prstGeom>
              <a:ln w="19050" cap="flat">
                <a:solidFill>
                  <a:schemeClr val="accent3"/>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flipH="1">
                <a:off x="1787413" y="4460022"/>
                <a:ext cx="39435" cy="0"/>
              </a:xfrm>
              <a:prstGeom prst="line">
                <a:avLst/>
              </a:prstGeom>
              <a:ln w="19050" cap="flat">
                <a:solidFill>
                  <a:schemeClr val="accent3"/>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3" name="Rounded Rectangle 62"/>
              <p:cNvSpPr/>
              <p:nvPr/>
            </p:nvSpPr>
            <p:spPr>
              <a:xfrm>
                <a:off x="1615145" y="4439774"/>
                <a:ext cx="49235" cy="22944"/>
              </a:xfrm>
              <a:prstGeom prst="roundRect">
                <a:avLst/>
              </a:prstGeom>
              <a:solidFill>
                <a:schemeClr val="accent3"/>
              </a:solidFill>
              <a:ln w="190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cxnSp>
            <p:nvCxnSpPr>
              <p:cNvPr id="64" name="Straight Connector 63"/>
              <p:cNvCxnSpPr/>
              <p:nvPr/>
            </p:nvCxnSpPr>
            <p:spPr>
              <a:xfrm flipH="1">
                <a:off x="1586048" y="4486062"/>
                <a:ext cx="58597" cy="103936"/>
              </a:xfrm>
              <a:prstGeom prst="line">
                <a:avLst/>
              </a:prstGeom>
              <a:ln w="19050" cap="flat">
                <a:solidFill>
                  <a:schemeClr val="accent3"/>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a:stCxn id="56" idx="6"/>
              </p:cNvCxnSpPr>
              <p:nvPr/>
            </p:nvCxnSpPr>
            <p:spPr>
              <a:xfrm flipH="1">
                <a:off x="1586050" y="4589998"/>
                <a:ext cx="67624" cy="1"/>
              </a:xfrm>
              <a:prstGeom prst="line">
                <a:avLst/>
              </a:prstGeom>
              <a:ln w="19050" cap="flat">
                <a:solidFill>
                  <a:schemeClr val="accent3"/>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6" name="Group 65"/>
            <p:cNvGrpSpPr/>
            <p:nvPr/>
          </p:nvGrpSpPr>
          <p:grpSpPr>
            <a:xfrm>
              <a:off x="5916233" y="3349269"/>
              <a:ext cx="1100949" cy="499368"/>
              <a:chOff x="5832140" y="4034670"/>
              <a:chExt cx="1100949" cy="499368"/>
            </a:xfrm>
          </p:grpSpPr>
          <p:grpSp>
            <p:nvGrpSpPr>
              <p:cNvPr id="67" name="Group 66"/>
              <p:cNvGrpSpPr/>
              <p:nvPr/>
            </p:nvGrpSpPr>
            <p:grpSpPr>
              <a:xfrm>
                <a:off x="5832140" y="4034670"/>
                <a:ext cx="1100949" cy="416576"/>
                <a:chOff x="5832140" y="4034670"/>
                <a:chExt cx="1100949" cy="416576"/>
              </a:xfrm>
            </p:grpSpPr>
            <p:sp>
              <p:nvSpPr>
                <p:cNvPr id="71" name="Rounded Rectangle 70"/>
                <p:cNvSpPr/>
                <p:nvPr/>
              </p:nvSpPr>
              <p:spPr>
                <a:xfrm>
                  <a:off x="5832140" y="4034670"/>
                  <a:ext cx="1100949" cy="416576"/>
                </a:xfrm>
                <a:prstGeom prst="roundRect">
                  <a:avLst/>
                </a:prstGeom>
                <a:solidFill>
                  <a:schemeClr val="accent3"/>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sp>
              <p:nvSpPr>
                <p:cNvPr id="72" name="Rounded Rectangle 71"/>
                <p:cNvSpPr/>
                <p:nvPr/>
              </p:nvSpPr>
              <p:spPr>
                <a:xfrm>
                  <a:off x="6677112" y="4097994"/>
                  <a:ext cx="122956" cy="289927"/>
                </a:xfrm>
                <a:prstGeom prst="roundRect">
                  <a:avLst/>
                </a:prstGeom>
                <a:solidFill>
                  <a:schemeClr val="bg1"/>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sp>
              <p:nvSpPr>
                <p:cNvPr id="73" name="Rounded Rectangle 72"/>
                <p:cNvSpPr/>
                <p:nvPr/>
              </p:nvSpPr>
              <p:spPr>
                <a:xfrm>
                  <a:off x="6839122" y="4097994"/>
                  <a:ext cx="63095" cy="148777"/>
                </a:xfrm>
                <a:prstGeom prst="roundRect">
                  <a:avLst/>
                </a:prstGeom>
                <a:solidFill>
                  <a:schemeClr val="bg1"/>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sp>
              <p:nvSpPr>
                <p:cNvPr id="74" name="Rounded Rectangle 73"/>
                <p:cNvSpPr/>
                <p:nvPr/>
              </p:nvSpPr>
              <p:spPr>
                <a:xfrm>
                  <a:off x="5925780" y="4097994"/>
                  <a:ext cx="148777" cy="148777"/>
                </a:xfrm>
                <a:prstGeom prst="roundRect">
                  <a:avLst/>
                </a:prstGeom>
                <a:solidFill>
                  <a:schemeClr val="bg1"/>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sp>
              <p:nvSpPr>
                <p:cNvPr id="75" name="Rounded Rectangle 74"/>
                <p:cNvSpPr/>
                <p:nvPr/>
              </p:nvSpPr>
              <p:spPr>
                <a:xfrm>
                  <a:off x="6113613" y="4097994"/>
                  <a:ext cx="148777" cy="148777"/>
                </a:xfrm>
                <a:prstGeom prst="roundRect">
                  <a:avLst/>
                </a:prstGeom>
                <a:solidFill>
                  <a:schemeClr val="bg1"/>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sp>
              <p:nvSpPr>
                <p:cNvPr id="76" name="Rounded Rectangle 75"/>
                <p:cNvSpPr/>
                <p:nvPr/>
              </p:nvSpPr>
              <p:spPr>
                <a:xfrm>
                  <a:off x="6301446" y="4097994"/>
                  <a:ext cx="148777" cy="148777"/>
                </a:xfrm>
                <a:prstGeom prst="roundRect">
                  <a:avLst/>
                </a:prstGeom>
                <a:solidFill>
                  <a:schemeClr val="bg1"/>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sp>
              <p:nvSpPr>
                <p:cNvPr id="77" name="Rounded Rectangle 76"/>
                <p:cNvSpPr/>
                <p:nvPr/>
              </p:nvSpPr>
              <p:spPr>
                <a:xfrm>
                  <a:off x="6489279" y="4097994"/>
                  <a:ext cx="148777" cy="148777"/>
                </a:xfrm>
                <a:prstGeom prst="roundRect">
                  <a:avLst/>
                </a:prstGeom>
                <a:solidFill>
                  <a:schemeClr val="bg1"/>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grpSp>
          <p:sp>
            <p:nvSpPr>
              <p:cNvPr id="68" name="Oval 67"/>
              <p:cNvSpPr/>
              <p:nvPr/>
            </p:nvSpPr>
            <p:spPr>
              <a:xfrm>
                <a:off x="5910922" y="4394380"/>
                <a:ext cx="138868" cy="138868"/>
              </a:xfrm>
              <a:prstGeom prst="ellipse">
                <a:avLst/>
              </a:prstGeom>
              <a:solidFill>
                <a:schemeClr val="bg1"/>
              </a:solidFill>
              <a:ln w="28575" cap="flat">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sp>
            <p:nvSpPr>
              <p:cNvPr id="69" name="Oval 68"/>
              <p:cNvSpPr/>
              <p:nvPr/>
            </p:nvSpPr>
            <p:spPr>
              <a:xfrm>
                <a:off x="6729102" y="4396970"/>
                <a:ext cx="126244" cy="124228"/>
              </a:xfrm>
              <a:prstGeom prst="ellipse">
                <a:avLst/>
              </a:prstGeom>
              <a:solidFill>
                <a:schemeClr val="bg1"/>
              </a:solidFill>
              <a:ln w="28575" cap="flat">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sp>
            <p:nvSpPr>
              <p:cNvPr id="70" name="Oval 69"/>
              <p:cNvSpPr/>
              <p:nvPr/>
            </p:nvSpPr>
            <p:spPr>
              <a:xfrm>
                <a:off x="6063322" y="4395170"/>
                <a:ext cx="138868" cy="138868"/>
              </a:xfrm>
              <a:prstGeom prst="ellipse">
                <a:avLst/>
              </a:prstGeom>
              <a:solidFill>
                <a:schemeClr val="bg1"/>
              </a:solidFill>
              <a:ln w="28575" cap="flat">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grpSp>
        <p:grpSp>
          <p:nvGrpSpPr>
            <p:cNvPr id="78" name="Group 77"/>
            <p:cNvGrpSpPr/>
            <p:nvPr/>
          </p:nvGrpSpPr>
          <p:grpSpPr>
            <a:xfrm>
              <a:off x="9817558" y="4052199"/>
              <a:ext cx="391573" cy="217850"/>
              <a:chOff x="1518422" y="4439774"/>
              <a:chExt cx="391573" cy="217850"/>
            </a:xfrm>
          </p:grpSpPr>
          <p:sp>
            <p:nvSpPr>
              <p:cNvPr id="79" name="Oval 78"/>
              <p:cNvSpPr/>
              <p:nvPr/>
            </p:nvSpPr>
            <p:spPr>
              <a:xfrm>
                <a:off x="1518422" y="4522372"/>
                <a:ext cx="135252" cy="135252"/>
              </a:xfrm>
              <a:prstGeom prst="ellipse">
                <a:avLst/>
              </a:prstGeom>
              <a:noFill/>
              <a:ln w="19050" cap="flat">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sp>
            <p:nvSpPr>
              <p:cNvPr id="80" name="Oval 79"/>
              <p:cNvSpPr/>
              <p:nvPr/>
            </p:nvSpPr>
            <p:spPr>
              <a:xfrm>
                <a:off x="1774743" y="4522372"/>
                <a:ext cx="135252" cy="135252"/>
              </a:xfrm>
              <a:prstGeom prst="ellipse">
                <a:avLst/>
              </a:prstGeom>
              <a:noFill/>
              <a:ln w="19050" cap="flat">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cxnSp>
            <p:nvCxnSpPr>
              <p:cNvPr id="81" name="Straight Connector 80"/>
              <p:cNvCxnSpPr/>
              <p:nvPr/>
            </p:nvCxnSpPr>
            <p:spPr>
              <a:xfrm>
                <a:off x="1644645" y="4487072"/>
                <a:ext cx="184758" cy="0"/>
              </a:xfrm>
              <a:prstGeom prst="line">
                <a:avLst/>
              </a:prstGeom>
              <a:ln w="19050" cap="flat">
                <a:solidFill>
                  <a:schemeClr val="accent3"/>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a:stCxn id="86" idx="2"/>
              </p:cNvCxnSpPr>
              <p:nvPr/>
            </p:nvCxnSpPr>
            <p:spPr>
              <a:xfrm>
                <a:off x="1639763" y="4462718"/>
                <a:ext cx="27521" cy="140833"/>
              </a:xfrm>
              <a:prstGeom prst="line">
                <a:avLst/>
              </a:prstGeom>
              <a:ln w="19050" cap="flat">
                <a:solidFill>
                  <a:schemeClr val="accent3"/>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flipH="1">
                <a:off x="1669839" y="4487072"/>
                <a:ext cx="159564" cy="116479"/>
              </a:xfrm>
              <a:prstGeom prst="line">
                <a:avLst/>
              </a:prstGeom>
              <a:ln w="19050" cap="flat">
                <a:solidFill>
                  <a:schemeClr val="accent3"/>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822320" y="4455478"/>
                <a:ext cx="17888" cy="151095"/>
              </a:xfrm>
              <a:prstGeom prst="line">
                <a:avLst/>
              </a:prstGeom>
              <a:ln w="19050" cap="flat">
                <a:solidFill>
                  <a:schemeClr val="accent3"/>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flipH="1">
                <a:off x="1787413" y="4460022"/>
                <a:ext cx="39435" cy="0"/>
              </a:xfrm>
              <a:prstGeom prst="line">
                <a:avLst/>
              </a:prstGeom>
              <a:ln w="19050" cap="flat">
                <a:solidFill>
                  <a:schemeClr val="accent3"/>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6" name="Rounded Rectangle 85"/>
              <p:cNvSpPr/>
              <p:nvPr/>
            </p:nvSpPr>
            <p:spPr>
              <a:xfrm>
                <a:off x="1615145" y="4439774"/>
                <a:ext cx="49235" cy="22944"/>
              </a:xfrm>
              <a:prstGeom prst="roundRect">
                <a:avLst/>
              </a:prstGeom>
              <a:solidFill>
                <a:schemeClr val="accent3"/>
              </a:solidFill>
              <a:ln w="190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cxnSp>
            <p:nvCxnSpPr>
              <p:cNvPr id="87" name="Straight Connector 86"/>
              <p:cNvCxnSpPr/>
              <p:nvPr/>
            </p:nvCxnSpPr>
            <p:spPr>
              <a:xfrm flipH="1">
                <a:off x="1586048" y="4486062"/>
                <a:ext cx="58597" cy="103936"/>
              </a:xfrm>
              <a:prstGeom prst="line">
                <a:avLst/>
              </a:prstGeom>
              <a:ln w="19050" cap="flat">
                <a:solidFill>
                  <a:schemeClr val="accent3"/>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a:stCxn id="79" idx="6"/>
              </p:cNvCxnSpPr>
              <p:nvPr/>
            </p:nvCxnSpPr>
            <p:spPr>
              <a:xfrm flipH="1">
                <a:off x="1586050" y="4589998"/>
                <a:ext cx="67624" cy="1"/>
              </a:xfrm>
              <a:prstGeom prst="line">
                <a:avLst/>
              </a:prstGeom>
              <a:ln w="19050" cap="flat">
                <a:solidFill>
                  <a:schemeClr val="accent3"/>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89" name="TextBox 88"/>
            <p:cNvSpPr txBox="1"/>
            <p:nvPr/>
          </p:nvSpPr>
          <p:spPr>
            <a:xfrm>
              <a:off x="6496593" y="1729089"/>
              <a:ext cx="742005" cy="332399"/>
            </a:xfrm>
            <a:prstGeom prst="rect">
              <a:avLst/>
            </a:prstGeom>
            <a:noFill/>
            <a:ln w="6350" cap="flat">
              <a:noFill/>
              <a:miter lim="800000"/>
            </a:ln>
          </p:spPr>
          <p:txBody>
            <a:bodyPr wrap="square" lIns="0" tIns="0" rIns="0" bIns="0" rtlCol="0" anchor="t" anchorCtr="0">
              <a:spAutoFit/>
            </a:bodyPr>
            <a:lstStyle/>
            <a:p>
              <a:pPr algn="ctr">
                <a:lnSpc>
                  <a:spcPct val="90000"/>
                </a:lnSpc>
                <a:spcBef>
                  <a:spcPts val="600"/>
                </a:spcBef>
                <a:buClr>
                  <a:schemeClr val="bg2"/>
                </a:buClr>
              </a:pPr>
              <a:r>
                <a:rPr lang="en-US" sz="1200" b="1" dirty="0">
                  <a:latin typeface="Arial" pitchFamily="34" charset="0"/>
                  <a:cs typeface="Arial" pitchFamily="34" charset="0"/>
                </a:rPr>
                <a:t>Intelligent Parking</a:t>
              </a:r>
            </a:p>
          </p:txBody>
        </p:sp>
        <p:sp>
          <p:nvSpPr>
            <p:cNvPr id="90" name="TextBox 89"/>
            <p:cNvSpPr txBox="1"/>
            <p:nvPr/>
          </p:nvSpPr>
          <p:spPr>
            <a:xfrm>
              <a:off x="7669287" y="1729089"/>
              <a:ext cx="1086371" cy="332399"/>
            </a:xfrm>
            <a:prstGeom prst="rect">
              <a:avLst/>
            </a:prstGeom>
            <a:noFill/>
            <a:ln w="6350" cap="flat">
              <a:noFill/>
              <a:miter lim="800000"/>
            </a:ln>
          </p:spPr>
          <p:txBody>
            <a:bodyPr wrap="square" lIns="0" tIns="0" rIns="0" bIns="0" rtlCol="0" anchor="t" anchorCtr="0">
              <a:spAutoFit/>
            </a:bodyPr>
            <a:lstStyle/>
            <a:p>
              <a:pPr algn="ctr">
                <a:lnSpc>
                  <a:spcPct val="90000"/>
                </a:lnSpc>
                <a:spcBef>
                  <a:spcPts val="600"/>
                </a:spcBef>
                <a:buClr>
                  <a:schemeClr val="bg2"/>
                </a:buClr>
              </a:pPr>
              <a:r>
                <a:rPr lang="en-US" sz="1200" b="1" dirty="0">
                  <a:latin typeface="Arial" pitchFamily="34" charset="0"/>
                  <a:cs typeface="Arial" pitchFamily="34" charset="0"/>
                </a:rPr>
                <a:t>Real-time ride</a:t>
              </a:r>
              <a:br>
                <a:rPr lang="en-US" sz="1200" b="1" dirty="0">
                  <a:latin typeface="Arial" pitchFamily="34" charset="0"/>
                  <a:cs typeface="Arial" pitchFamily="34" charset="0"/>
                </a:rPr>
              </a:br>
              <a:r>
                <a:rPr lang="en-US" sz="1200" b="1" dirty="0">
                  <a:latin typeface="Arial" pitchFamily="34" charset="0"/>
                  <a:cs typeface="Arial" pitchFamily="34" charset="0"/>
                </a:rPr>
                <a:t>sharing</a:t>
              </a:r>
            </a:p>
          </p:txBody>
        </p:sp>
        <p:sp>
          <p:nvSpPr>
            <p:cNvPr id="91" name="TextBox 90"/>
            <p:cNvSpPr txBox="1"/>
            <p:nvPr/>
          </p:nvSpPr>
          <p:spPr>
            <a:xfrm>
              <a:off x="9186346" y="2053125"/>
              <a:ext cx="1086371" cy="498598"/>
            </a:xfrm>
            <a:prstGeom prst="rect">
              <a:avLst/>
            </a:prstGeom>
            <a:noFill/>
            <a:ln w="6350" cap="flat">
              <a:noFill/>
              <a:miter lim="800000"/>
            </a:ln>
          </p:spPr>
          <p:txBody>
            <a:bodyPr wrap="square" lIns="0" tIns="0" rIns="0" bIns="0" rtlCol="0" anchor="t" anchorCtr="0">
              <a:spAutoFit/>
            </a:bodyPr>
            <a:lstStyle/>
            <a:p>
              <a:pPr algn="ctr">
                <a:lnSpc>
                  <a:spcPct val="90000"/>
                </a:lnSpc>
                <a:spcBef>
                  <a:spcPts val="600"/>
                </a:spcBef>
                <a:buClr>
                  <a:schemeClr val="bg2"/>
                </a:buClr>
              </a:pPr>
              <a:r>
                <a:rPr lang="en-US" sz="1200" b="1" dirty="0">
                  <a:latin typeface="Arial" pitchFamily="34" charset="0"/>
                  <a:cs typeface="Arial" pitchFamily="34" charset="0"/>
                </a:rPr>
                <a:t>Real-time traffic management</a:t>
              </a:r>
            </a:p>
          </p:txBody>
        </p:sp>
        <p:sp>
          <p:nvSpPr>
            <p:cNvPr id="92" name="TextBox 91"/>
            <p:cNvSpPr txBox="1"/>
            <p:nvPr/>
          </p:nvSpPr>
          <p:spPr>
            <a:xfrm>
              <a:off x="1945413" y="2219325"/>
              <a:ext cx="1086371" cy="166199"/>
            </a:xfrm>
            <a:prstGeom prst="rect">
              <a:avLst/>
            </a:prstGeom>
            <a:noFill/>
            <a:ln w="6350" cap="flat">
              <a:noFill/>
              <a:miter lim="800000"/>
            </a:ln>
          </p:spPr>
          <p:txBody>
            <a:bodyPr wrap="square" lIns="0" tIns="0" rIns="0" bIns="0" rtlCol="0" anchor="t" anchorCtr="0">
              <a:spAutoFit/>
            </a:bodyPr>
            <a:lstStyle/>
            <a:p>
              <a:pPr algn="ctr">
                <a:lnSpc>
                  <a:spcPct val="90000"/>
                </a:lnSpc>
                <a:spcBef>
                  <a:spcPts val="600"/>
                </a:spcBef>
                <a:buClr>
                  <a:schemeClr val="bg2"/>
                </a:buClr>
              </a:pPr>
              <a:r>
                <a:rPr lang="en-US" sz="1200" b="1" dirty="0">
                  <a:latin typeface="Arial" pitchFamily="34" charset="0"/>
                  <a:cs typeface="Arial" pitchFamily="34" charset="0"/>
                </a:rPr>
                <a:t>Car sharing</a:t>
              </a:r>
            </a:p>
          </p:txBody>
        </p:sp>
        <p:sp>
          <p:nvSpPr>
            <p:cNvPr id="93" name="TextBox 92"/>
            <p:cNvSpPr txBox="1"/>
            <p:nvPr/>
          </p:nvSpPr>
          <p:spPr>
            <a:xfrm>
              <a:off x="3462473" y="1729089"/>
              <a:ext cx="1086371" cy="332399"/>
            </a:xfrm>
            <a:prstGeom prst="rect">
              <a:avLst/>
            </a:prstGeom>
            <a:noFill/>
            <a:ln w="6350" cap="flat">
              <a:noFill/>
              <a:miter lim="800000"/>
            </a:ln>
          </p:spPr>
          <p:txBody>
            <a:bodyPr wrap="square" lIns="0" tIns="0" rIns="0" bIns="0" rtlCol="0" anchor="t" anchorCtr="0">
              <a:spAutoFit/>
            </a:bodyPr>
            <a:lstStyle/>
            <a:p>
              <a:pPr algn="ctr">
                <a:lnSpc>
                  <a:spcPct val="90000"/>
                </a:lnSpc>
                <a:spcBef>
                  <a:spcPts val="600"/>
                </a:spcBef>
                <a:buClr>
                  <a:schemeClr val="bg2"/>
                </a:buClr>
              </a:pPr>
              <a:r>
                <a:rPr lang="en-US" sz="1200" b="1" dirty="0">
                  <a:latin typeface="Arial" pitchFamily="34" charset="0"/>
                  <a:cs typeface="Arial" pitchFamily="34" charset="0"/>
                </a:rPr>
                <a:t>Transport fare management</a:t>
              </a:r>
            </a:p>
          </p:txBody>
        </p:sp>
        <p:sp>
          <p:nvSpPr>
            <p:cNvPr id="94" name="TextBox 93"/>
            <p:cNvSpPr txBox="1"/>
            <p:nvPr/>
          </p:nvSpPr>
          <p:spPr>
            <a:xfrm>
              <a:off x="4979533" y="1729089"/>
              <a:ext cx="1086371" cy="332399"/>
            </a:xfrm>
            <a:prstGeom prst="rect">
              <a:avLst/>
            </a:prstGeom>
            <a:noFill/>
            <a:ln w="6350" cap="flat">
              <a:noFill/>
              <a:miter lim="800000"/>
            </a:ln>
          </p:spPr>
          <p:txBody>
            <a:bodyPr wrap="square" lIns="0" tIns="0" rIns="0" bIns="0" rtlCol="0" anchor="t" anchorCtr="0">
              <a:spAutoFit/>
            </a:bodyPr>
            <a:lstStyle/>
            <a:p>
              <a:pPr algn="ctr">
                <a:lnSpc>
                  <a:spcPct val="90000"/>
                </a:lnSpc>
                <a:spcBef>
                  <a:spcPts val="600"/>
                </a:spcBef>
                <a:buClr>
                  <a:schemeClr val="bg2"/>
                </a:buClr>
              </a:pPr>
              <a:r>
                <a:rPr lang="en-US" sz="1200" b="1" dirty="0">
                  <a:latin typeface="Arial" pitchFamily="34" charset="0"/>
                  <a:cs typeface="Arial" pitchFamily="34" charset="0"/>
                </a:rPr>
                <a:t>Peer-to-peer car rental</a:t>
              </a:r>
            </a:p>
          </p:txBody>
        </p:sp>
        <p:sp>
          <p:nvSpPr>
            <p:cNvPr id="95" name="TextBox 94"/>
            <p:cNvSpPr txBox="1"/>
            <p:nvPr/>
          </p:nvSpPr>
          <p:spPr>
            <a:xfrm>
              <a:off x="4910625" y="5141107"/>
              <a:ext cx="1185628" cy="166199"/>
            </a:xfrm>
            <a:prstGeom prst="rect">
              <a:avLst/>
            </a:prstGeom>
            <a:noFill/>
            <a:ln w="6350" cap="flat">
              <a:noFill/>
              <a:miter lim="800000"/>
            </a:ln>
          </p:spPr>
          <p:txBody>
            <a:bodyPr wrap="square" lIns="0" tIns="0" rIns="0" bIns="0" rtlCol="0" anchor="t" anchorCtr="0">
              <a:spAutoFit/>
            </a:bodyPr>
            <a:lstStyle/>
            <a:p>
              <a:pPr algn="ctr">
                <a:lnSpc>
                  <a:spcPct val="90000"/>
                </a:lnSpc>
                <a:spcBef>
                  <a:spcPts val="600"/>
                </a:spcBef>
                <a:buClr>
                  <a:schemeClr val="bg2"/>
                </a:buClr>
              </a:pPr>
              <a:r>
                <a:rPr lang="en-US" sz="1200" b="1" dirty="0">
                  <a:latin typeface="Arial" pitchFamily="34" charset="0"/>
                  <a:cs typeface="Arial" pitchFamily="34" charset="0"/>
                </a:rPr>
                <a:t>(e)Bike sharing</a:t>
              </a:r>
            </a:p>
          </p:txBody>
        </p:sp>
        <p:sp>
          <p:nvSpPr>
            <p:cNvPr id="96" name="TextBox 95"/>
            <p:cNvSpPr txBox="1"/>
            <p:nvPr/>
          </p:nvSpPr>
          <p:spPr>
            <a:xfrm>
              <a:off x="7761175" y="5058007"/>
              <a:ext cx="1086371" cy="332399"/>
            </a:xfrm>
            <a:prstGeom prst="rect">
              <a:avLst/>
            </a:prstGeom>
            <a:noFill/>
            <a:ln w="6350" cap="flat">
              <a:noFill/>
              <a:miter lim="800000"/>
            </a:ln>
          </p:spPr>
          <p:txBody>
            <a:bodyPr wrap="square" lIns="0" tIns="0" rIns="0" bIns="0" rtlCol="0" anchor="t" anchorCtr="0">
              <a:spAutoFit/>
            </a:bodyPr>
            <a:lstStyle/>
            <a:p>
              <a:pPr algn="ctr">
                <a:lnSpc>
                  <a:spcPct val="90000"/>
                </a:lnSpc>
                <a:spcBef>
                  <a:spcPts val="600"/>
                </a:spcBef>
                <a:buClr>
                  <a:schemeClr val="bg2"/>
                </a:buClr>
              </a:pPr>
              <a:r>
                <a:rPr lang="en-US" sz="1200" b="1" dirty="0">
                  <a:latin typeface="Arial" pitchFamily="34" charset="0"/>
                  <a:cs typeface="Arial" pitchFamily="34" charset="0"/>
                </a:rPr>
                <a:t>Autonomous driving</a:t>
              </a:r>
            </a:p>
          </p:txBody>
        </p:sp>
        <p:sp>
          <p:nvSpPr>
            <p:cNvPr id="97" name="TextBox 96"/>
            <p:cNvSpPr txBox="1"/>
            <p:nvPr/>
          </p:nvSpPr>
          <p:spPr>
            <a:xfrm>
              <a:off x="9138424" y="4601046"/>
              <a:ext cx="1086371" cy="332399"/>
            </a:xfrm>
            <a:prstGeom prst="rect">
              <a:avLst/>
            </a:prstGeom>
            <a:noFill/>
            <a:ln w="6350" cap="flat">
              <a:noFill/>
              <a:miter lim="800000"/>
            </a:ln>
          </p:spPr>
          <p:txBody>
            <a:bodyPr wrap="square" lIns="0" tIns="0" rIns="0" bIns="0" rtlCol="0" anchor="t" anchorCtr="0">
              <a:spAutoFit/>
            </a:bodyPr>
            <a:lstStyle/>
            <a:p>
              <a:pPr algn="ctr">
                <a:lnSpc>
                  <a:spcPct val="90000"/>
                </a:lnSpc>
                <a:spcBef>
                  <a:spcPts val="600"/>
                </a:spcBef>
                <a:buClr>
                  <a:schemeClr val="bg2"/>
                </a:buClr>
              </a:pPr>
              <a:r>
                <a:rPr lang="en-US" sz="1200" b="1" dirty="0">
                  <a:latin typeface="Arial" pitchFamily="34" charset="0"/>
                  <a:cs typeface="Arial" pitchFamily="34" charset="0"/>
                </a:rPr>
                <a:t>Toll management</a:t>
              </a:r>
            </a:p>
          </p:txBody>
        </p:sp>
        <p:sp>
          <p:nvSpPr>
            <p:cNvPr id="98" name="TextBox 97"/>
            <p:cNvSpPr txBox="1"/>
            <p:nvPr/>
          </p:nvSpPr>
          <p:spPr>
            <a:xfrm>
              <a:off x="6354715" y="5058007"/>
              <a:ext cx="1086371" cy="332399"/>
            </a:xfrm>
            <a:prstGeom prst="rect">
              <a:avLst/>
            </a:prstGeom>
            <a:noFill/>
            <a:ln w="6350" cap="flat">
              <a:noFill/>
              <a:miter lim="800000"/>
            </a:ln>
          </p:spPr>
          <p:txBody>
            <a:bodyPr wrap="square" lIns="0" tIns="0" rIns="0" bIns="0" rtlCol="0" anchor="t" anchorCtr="0">
              <a:spAutoFit/>
            </a:bodyPr>
            <a:lstStyle/>
            <a:p>
              <a:pPr algn="ctr">
                <a:lnSpc>
                  <a:spcPct val="90000"/>
                </a:lnSpc>
                <a:spcBef>
                  <a:spcPts val="600"/>
                </a:spcBef>
                <a:buClr>
                  <a:schemeClr val="bg2"/>
                </a:buClr>
              </a:pPr>
              <a:r>
                <a:rPr lang="en-US" sz="1200" b="1" dirty="0">
                  <a:latin typeface="Arial" pitchFamily="34" charset="0"/>
                  <a:cs typeface="Arial" pitchFamily="34" charset="0"/>
                </a:rPr>
                <a:t>Connected </a:t>
              </a:r>
              <a:r>
                <a:rPr lang="en-US" sz="1200" b="1" dirty="0" smtClean="0">
                  <a:latin typeface="Arial" pitchFamily="34" charset="0"/>
                  <a:cs typeface="Arial" pitchFamily="34" charset="0"/>
                </a:rPr>
                <a:t>vehicles</a:t>
              </a:r>
              <a:endParaRPr lang="en-US" sz="1200" b="1" dirty="0">
                <a:latin typeface="Arial" pitchFamily="34" charset="0"/>
                <a:cs typeface="Arial" pitchFamily="34" charset="0"/>
              </a:endParaRPr>
            </a:p>
          </p:txBody>
        </p:sp>
        <p:sp>
          <p:nvSpPr>
            <p:cNvPr id="99" name="TextBox 98"/>
            <p:cNvSpPr txBox="1"/>
            <p:nvPr/>
          </p:nvSpPr>
          <p:spPr>
            <a:xfrm>
              <a:off x="2026698" y="4434847"/>
              <a:ext cx="1195008" cy="498598"/>
            </a:xfrm>
            <a:prstGeom prst="rect">
              <a:avLst/>
            </a:prstGeom>
            <a:noFill/>
            <a:ln w="6350" cap="flat">
              <a:noFill/>
              <a:miter lim="800000"/>
            </a:ln>
          </p:spPr>
          <p:txBody>
            <a:bodyPr wrap="square" lIns="0" tIns="0" rIns="0" bIns="0" rtlCol="0" anchor="t" anchorCtr="0">
              <a:spAutoFit/>
            </a:bodyPr>
            <a:lstStyle/>
            <a:p>
              <a:pPr algn="ctr">
                <a:lnSpc>
                  <a:spcPct val="90000"/>
                </a:lnSpc>
                <a:spcBef>
                  <a:spcPts val="600"/>
                </a:spcBef>
                <a:buClr>
                  <a:schemeClr val="bg2"/>
                </a:buClr>
              </a:pPr>
              <a:r>
                <a:rPr lang="en-US" sz="1200" b="1" dirty="0">
                  <a:latin typeface="Arial" pitchFamily="34" charset="0"/>
                  <a:cs typeface="Arial" pitchFamily="34" charset="0"/>
                </a:rPr>
                <a:t>Multi-modal transportation solution</a:t>
              </a:r>
            </a:p>
          </p:txBody>
        </p:sp>
        <p:sp>
          <p:nvSpPr>
            <p:cNvPr id="100" name="TextBox 99"/>
            <p:cNvSpPr txBox="1"/>
            <p:nvPr/>
          </p:nvSpPr>
          <p:spPr>
            <a:xfrm>
              <a:off x="3541795" y="5058007"/>
              <a:ext cx="1086371" cy="332399"/>
            </a:xfrm>
            <a:prstGeom prst="rect">
              <a:avLst/>
            </a:prstGeom>
            <a:noFill/>
            <a:ln w="6350" cap="flat">
              <a:noFill/>
              <a:miter lim="800000"/>
            </a:ln>
          </p:spPr>
          <p:txBody>
            <a:bodyPr wrap="square" lIns="0" tIns="0" rIns="0" bIns="0" rtlCol="0" anchor="t" anchorCtr="0">
              <a:spAutoFit/>
            </a:bodyPr>
            <a:lstStyle/>
            <a:p>
              <a:pPr algn="ctr">
                <a:lnSpc>
                  <a:spcPct val="90000"/>
                </a:lnSpc>
                <a:spcBef>
                  <a:spcPts val="600"/>
                </a:spcBef>
                <a:buClr>
                  <a:schemeClr val="bg2"/>
                </a:buClr>
              </a:pPr>
              <a:r>
                <a:rPr lang="en-US" sz="1200" b="1" dirty="0">
                  <a:latin typeface="Arial" pitchFamily="34" charset="0"/>
                  <a:cs typeface="Arial" pitchFamily="34" charset="0"/>
                </a:rPr>
                <a:t>Individual travel planning</a:t>
              </a:r>
            </a:p>
          </p:txBody>
        </p:sp>
        <p:cxnSp>
          <p:nvCxnSpPr>
            <p:cNvPr id="101" name="Straight Connector 100"/>
            <p:cNvCxnSpPr>
              <a:stCxn id="12" idx="1"/>
              <a:endCxn id="12" idx="3"/>
            </p:cNvCxnSpPr>
            <p:nvPr/>
          </p:nvCxnSpPr>
          <p:spPr>
            <a:xfrm>
              <a:off x="1527428" y="3874957"/>
              <a:ext cx="9139238" cy="0"/>
            </a:xfrm>
            <a:prstGeom prst="line">
              <a:avLst/>
            </a:prstGeom>
            <a:ln w="28575" cap="flat">
              <a:solidFill>
                <a:schemeClr val="bg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02" name="Group 101"/>
            <p:cNvGrpSpPr/>
            <p:nvPr/>
          </p:nvGrpSpPr>
          <p:grpSpPr>
            <a:xfrm>
              <a:off x="8112477" y="3745313"/>
              <a:ext cx="560547" cy="284342"/>
              <a:chOff x="7251813" y="4325948"/>
              <a:chExt cx="560547" cy="284342"/>
            </a:xfrm>
          </p:grpSpPr>
          <p:sp>
            <p:nvSpPr>
              <p:cNvPr id="103" name="Freeform 102"/>
              <p:cNvSpPr/>
              <p:nvPr/>
            </p:nvSpPr>
            <p:spPr>
              <a:xfrm>
                <a:off x="7251813" y="4325948"/>
                <a:ext cx="560547" cy="236268"/>
              </a:xfrm>
              <a:custGeom>
                <a:avLst/>
                <a:gdLst>
                  <a:gd name="connsiteX0" fmla="*/ 71438 w 509588"/>
                  <a:gd name="connsiteY0" fmla="*/ 195263 h 195263"/>
                  <a:gd name="connsiteX1" fmla="*/ 0 w 509588"/>
                  <a:gd name="connsiteY1" fmla="*/ 195263 h 195263"/>
                  <a:gd name="connsiteX2" fmla="*/ 28575 w 509588"/>
                  <a:gd name="connsiteY2" fmla="*/ 104775 h 195263"/>
                  <a:gd name="connsiteX3" fmla="*/ 100013 w 509588"/>
                  <a:gd name="connsiteY3" fmla="*/ 0 h 195263"/>
                  <a:gd name="connsiteX4" fmla="*/ 319088 w 509588"/>
                  <a:gd name="connsiteY4" fmla="*/ 0 h 195263"/>
                  <a:gd name="connsiteX5" fmla="*/ 376238 w 509588"/>
                  <a:gd name="connsiteY5" fmla="*/ 85725 h 195263"/>
                  <a:gd name="connsiteX6" fmla="*/ 471488 w 509588"/>
                  <a:gd name="connsiteY6" fmla="*/ 80963 h 195263"/>
                  <a:gd name="connsiteX7" fmla="*/ 509588 w 509588"/>
                  <a:gd name="connsiteY7" fmla="*/ 185738 h 195263"/>
                  <a:gd name="connsiteX8" fmla="*/ 71438 w 509588"/>
                  <a:gd name="connsiteY8" fmla="*/ 195263 h 195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9588" h="195263">
                    <a:moveTo>
                      <a:pt x="71438" y="195263"/>
                    </a:moveTo>
                    <a:lnTo>
                      <a:pt x="0" y="195263"/>
                    </a:lnTo>
                    <a:lnTo>
                      <a:pt x="28575" y="104775"/>
                    </a:lnTo>
                    <a:lnTo>
                      <a:pt x="100013" y="0"/>
                    </a:lnTo>
                    <a:lnTo>
                      <a:pt x="319088" y="0"/>
                    </a:lnTo>
                    <a:lnTo>
                      <a:pt x="376238" y="85725"/>
                    </a:lnTo>
                    <a:lnTo>
                      <a:pt x="471488" y="80963"/>
                    </a:lnTo>
                    <a:lnTo>
                      <a:pt x="509588" y="185738"/>
                    </a:lnTo>
                    <a:lnTo>
                      <a:pt x="71438" y="195263"/>
                    </a:lnTo>
                    <a:close/>
                  </a:path>
                </a:pathLst>
              </a:custGeom>
              <a:solidFill>
                <a:schemeClr val="accent3"/>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sp>
            <p:nvSpPr>
              <p:cNvPr id="104" name="Freeform 103"/>
              <p:cNvSpPr/>
              <p:nvPr/>
            </p:nvSpPr>
            <p:spPr>
              <a:xfrm>
                <a:off x="7344902" y="4352595"/>
                <a:ext cx="104775" cy="77081"/>
              </a:xfrm>
              <a:custGeom>
                <a:avLst/>
                <a:gdLst>
                  <a:gd name="connsiteX0" fmla="*/ 33338 w 95250"/>
                  <a:gd name="connsiteY0" fmla="*/ 0 h 61912"/>
                  <a:gd name="connsiteX1" fmla="*/ 0 w 95250"/>
                  <a:gd name="connsiteY1" fmla="*/ 61912 h 61912"/>
                  <a:gd name="connsiteX2" fmla="*/ 95250 w 95250"/>
                  <a:gd name="connsiteY2" fmla="*/ 61912 h 61912"/>
                  <a:gd name="connsiteX3" fmla="*/ 95250 w 95250"/>
                  <a:gd name="connsiteY3" fmla="*/ 4762 h 61912"/>
                  <a:gd name="connsiteX4" fmla="*/ 33338 w 95250"/>
                  <a:gd name="connsiteY4" fmla="*/ 0 h 61912"/>
                  <a:gd name="connsiteX0" fmla="*/ 33338 w 95250"/>
                  <a:gd name="connsiteY0" fmla="*/ 8343 h 70255"/>
                  <a:gd name="connsiteX1" fmla="*/ 0 w 95250"/>
                  <a:gd name="connsiteY1" fmla="*/ 70255 h 70255"/>
                  <a:gd name="connsiteX2" fmla="*/ 95250 w 95250"/>
                  <a:gd name="connsiteY2" fmla="*/ 70255 h 70255"/>
                  <a:gd name="connsiteX3" fmla="*/ 95250 w 95250"/>
                  <a:gd name="connsiteY3" fmla="*/ 0 h 70255"/>
                  <a:gd name="connsiteX4" fmla="*/ 33338 w 95250"/>
                  <a:gd name="connsiteY4" fmla="*/ 8343 h 70255"/>
                  <a:gd name="connsiteX0" fmla="*/ 33338 w 95250"/>
                  <a:gd name="connsiteY0" fmla="*/ 0 h 61912"/>
                  <a:gd name="connsiteX1" fmla="*/ 0 w 95250"/>
                  <a:gd name="connsiteY1" fmla="*/ 61912 h 61912"/>
                  <a:gd name="connsiteX2" fmla="*/ 95250 w 95250"/>
                  <a:gd name="connsiteY2" fmla="*/ 61912 h 61912"/>
                  <a:gd name="connsiteX3" fmla="*/ 95250 w 95250"/>
                  <a:gd name="connsiteY3" fmla="*/ 2578 h 61912"/>
                  <a:gd name="connsiteX4" fmla="*/ 33338 w 95250"/>
                  <a:gd name="connsiteY4" fmla="*/ 0 h 61912"/>
                  <a:gd name="connsiteX0" fmla="*/ 33338 w 95250"/>
                  <a:gd name="connsiteY0" fmla="*/ 1791 h 63703"/>
                  <a:gd name="connsiteX1" fmla="*/ 0 w 95250"/>
                  <a:gd name="connsiteY1" fmla="*/ 63703 h 63703"/>
                  <a:gd name="connsiteX2" fmla="*/ 95250 w 95250"/>
                  <a:gd name="connsiteY2" fmla="*/ 63703 h 63703"/>
                  <a:gd name="connsiteX3" fmla="*/ 95250 w 95250"/>
                  <a:gd name="connsiteY3" fmla="*/ 0 h 63703"/>
                  <a:gd name="connsiteX4" fmla="*/ 33338 w 95250"/>
                  <a:gd name="connsiteY4" fmla="*/ 1791 h 63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63703">
                    <a:moveTo>
                      <a:pt x="33338" y="1791"/>
                    </a:moveTo>
                    <a:lnTo>
                      <a:pt x="0" y="63703"/>
                    </a:lnTo>
                    <a:lnTo>
                      <a:pt x="95250" y="63703"/>
                    </a:lnTo>
                    <a:lnTo>
                      <a:pt x="95250" y="0"/>
                    </a:lnTo>
                    <a:lnTo>
                      <a:pt x="33338" y="1791"/>
                    </a:lnTo>
                    <a:close/>
                  </a:path>
                </a:pathLst>
              </a:custGeom>
              <a:solidFill>
                <a:schemeClr val="bg1"/>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sp>
            <p:nvSpPr>
              <p:cNvPr id="105" name="Oval 104"/>
              <p:cNvSpPr/>
              <p:nvPr/>
            </p:nvSpPr>
            <p:spPr>
              <a:xfrm>
                <a:off x="7305909" y="4495523"/>
                <a:ext cx="114767" cy="114767"/>
              </a:xfrm>
              <a:prstGeom prst="ellipse">
                <a:avLst/>
              </a:prstGeom>
              <a:solidFill>
                <a:schemeClr val="bg1"/>
              </a:solidFill>
              <a:ln w="28575" cap="flat">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sp>
            <p:nvSpPr>
              <p:cNvPr id="106" name="Oval 105"/>
              <p:cNvSpPr/>
              <p:nvPr/>
            </p:nvSpPr>
            <p:spPr>
              <a:xfrm>
                <a:off x="7649021" y="4486062"/>
                <a:ext cx="114767" cy="124228"/>
              </a:xfrm>
              <a:prstGeom prst="ellipse">
                <a:avLst/>
              </a:prstGeom>
              <a:solidFill>
                <a:schemeClr val="bg1"/>
              </a:solidFill>
              <a:ln w="28575" cap="flat">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sp>
            <p:nvSpPr>
              <p:cNvPr id="107" name="Freeform 106"/>
              <p:cNvSpPr/>
              <p:nvPr/>
            </p:nvSpPr>
            <p:spPr>
              <a:xfrm flipH="1">
                <a:off x="7476976" y="4351661"/>
                <a:ext cx="155364" cy="77081"/>
              </a:xfrm>
              <a:custGeom>
                <a:avLst/>
                <a:gdLst>
                  <a:gd name="connsiteX0" fmla="*/ 33338 w 95250"/>
                  <a:gd name="connsiteY0" fmla="*/ 0 h 61912"/>
                  <a:gd name="connsiteX1" fmla="*/ 0 w 95250"/>
                  <a:gd name="connsiteY1" fmla="*/ 61912 h 61912"/>
                  <a:gd name="connsiteX2" fmla="*/ 95250 w 95250"/>
                  <a:gd name="connsiteY2" fmla="*/ 61912 h 61912"/>
                  <a:gd name="connsiteX3" fmla="*/ 95250 w 95250"/>
                  <a:gd name="connsiteY3" fmla="*/ 4762 h 61912"/>
                  <a:gd name="connsiteX4" fmla="*/ 33338 w 95250"/>
                  <a:gd name="connsiteY4" fmla="*/ 0 h 61912"/>
                  <a:gd name="connsiteX0" fmla="*/ 33338 w 95250"/>
                  <a:gd name="connsiteY0" fmla="*/ 8343 h 70255"/>
                  <a:gd name="connsiteX1" fmla="*/ 0 w 95250"/>
                  <a:gd name="connsiteY1" fmla="*/ 70255 h 70255"/>
                  <a:gd name="connsiteX2" fmla="*/ 95250 w 95250"/>
                  <a:gd name="connsiteY2" fmla="*/ 70255 h 70255"/>
                  <a:gd name="connsiteX3" fmla="*/ 95250 w 95250"/>
                  <a:gd name="connsiteY3" fmla="*/ 0 h 70255"/>
                  <a:gd name="connsiteX4" fmla="*/ 33338 w 95250"/>
                  <a:gd name="connsiteY4" fmla="*/ 8343 h 70255"/>
                  <a:gd name="connsiteX0" fmla="*/ 33338 w 95250"/>
                  <a:gd name="connsiteY0" fmla="*/ 0 h 61912"/>
                  <a:gd name="connsiteX1" fmla="*/ 0 w 95250"/>
                  <a:gd name="connsiteY1" fmla="*/ 61912 h 61912"/>
                  <a:gd name="connsiteX2" fmla="*/ 95250 w 95250"/>
                  <a:gd name="connsiteY2" fmla="*/ 61912 h 61912"/>
                  <a:gd name="connsiteX3" fmla="*/ 95250 w 95250"/>
                  <a:gd name="connsiteY3" fmla="*/ 2578 h 61912"/>
                  <a:gd name="connsiteX4" fmla="*/ 33338 w 95250"/>
                  <a:gd name="connsiteY4" fmla="*/ 0 h 61912"/>
                  <a:gd name="connsiteX0" fmla="*/ 33338 w 95250"/>
                  <a:gd name="connsiteY0" fmla="*/ 1791 h 63703"/>
                  <a:gd name="connsiteX1" fmla="*/ 0 w 95250"/>
                  <a:gd name="connsiteY1" fmla="*/ 63703 h 63703"/>
                  <a:gd name="connsiteX2" fmla="*/ 95250 w 95250"/>
                  <a:gd name="connsiteY2" fmla="*/ 63703 h 63703"/>
                  <a:gd name="connsiteX3" fmla="*/ 95250 w 95250"/>
                  <a:gd name="connsiteY3" fmla="*/ 0 h 63703"/>
                  <a:gd name="connsiteX4" fmla="*/ 33338 w 95250"/>
                  <a:gd name="connsiteY4" fmla="*/ 1791 h 63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63703">
                    <a:moveTo>
                      <a:pt x="33338" y="1791"/>
                    </a:moveTo>
                    <a:lnTo>
                      <a:pt x="0" y="63703"/>
                    </a:lnTo>
                    <a:lnTo>
                      <a:pt x="95250" y="63703"/>
                    </a:lnTo>
                    <a:lnTo>
                      <a:pt x="95250" y="0"/>
                    </a:lnTo>
                    <a:lnTo>
                      <a:pt x="33338" y="1791"/>
                    </a:lnTo>
                    <a:close/>
                  </a:path>
                </a:pathLst>
              </a:custGeom>
              <a:solidFill>
                <a:schemeClr val="bg1"/>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grpSp>
        <p:grpSp>
          <p:nvGrpSpPr>
            <p:cNvPr id="108" name="Group 107"/>
            <p:cNvGrpSpPr/>
            <p:nvPr/>
          </p:nvGrpSpPr>
          <p:grpSpPr>
            <a:xfrm>
              <a:off x="3972017" y="3709309"/>
              <a:ext cx="789674" cy="284342"/>
              <a:chOff x="5832141" y="5085184"/>
              <a:chExt cx="789674" cy="284342"/>
            </a:xfrm>
          </p:grpSpPr>
          <p:sp>
            <p:nvSpPr>
              <p:cNvPr id="109" name="Freeform 108"/>
              <p:cNvSpPr/>
              <p:nvPr/>
            </p:nvSpPr>
            <p:spPr>
              <a:xfrm>
                <a:off x="5832141" y="5085184"/>
                <a:ext cx="789674" cy="236268"/>
              </a:xfrm>
              <a:custGeom>
                <a:avLst/>
                <a:gdLst>
                  <a:gd name="connsiteX0" fmla="*/ 71438 w 509588"/>
                  <a:gd name="connsiteY0" fmla="*/ 195263 h 195263"/>
                  <a:gd name="connsiteX1" fmla="*/ 0 w 509588"/>
                  <a:gd name="connsiteY1" fmla="*/ 195263 h 195263"/>
                  <a:gd name="connsiteX2" fmla="*/ 28575 w 509588"/>
                  <a:gd name="connsiteY2" fmla="*/ 104775 h 195263"/>
                  <a:gd name="connsiteX3" fmla="*/ 100013 w 509588"/>
                  <a:gd name="connsiteY3" fmla="*/ 0 h 195263"/>
                  <a:gd name="connsiteX4" fmla="*/ 319088 w 509588"/>
                  <a:gd name="connsiteY4" fmla="*/ 0 h 195263"/>
                  <a:gd name="connsiteX5" fmla="*/ 376238 w 509588"/>
                  <a:gd name="connsiteY5" fmla="*/ 85725 h 195263"/>
                  <a:gd name="connsiteX6" fmla="*/ 471488 w 509588"/>
                  <a:gd name="connsiteY6" fmla="*/ 80963 h 195263"/>
                  <a:gd name="connsiteX7" fmla="*/ 509588 w 509588"/>
                  <a:gd name="connsiteY7" fmla="*/ 185738 h 195263"/>
                  <a:gd name="connsiteX8" fmla="*/ 71438 w 509588"/>
                  <a:gd name="connsiteY8" fmla="*/ 195263 h 195263"/>
                  <a:gd name="connsiteX0" fmla="*/ 73649 w 511799"/>
                  <a:gd name="connsiteY0" fmla="*/ 195263 h 195263"/>
                  <a:gd name="connsiteX1" fmla="*/ 2211 w 511799"/>
                  <a:gd name="connsiteY1" fmla="*/ 195263 h 195263"/>
                  <a:gd name="connsiteX2" fmla="*/ 0 w 511799"/>
                  <a:gd name="connsiteY2" fmla="*/ 65347 h 195263"/>
                  <a:gd name="connsiteX3" fmla="*/ 102224 w 511799"/>
                  <a:gd name="connsiteY3" fmla="*/ 0 h 195263"/>
                  <a:gd name="connsiteX4" fmla="*/ 321299 w 511799"/>
                  <a:gd name="connsiteY4" fmla="*/ 0 h 195263"/>
                  <a:gd name="connsiteX5" fmla="*/ 378449 w 511799"/>
                  <a:gd name="connsiteY5" fmla="*/ 85725 h 195263"/>
                  <a:gd name="connsiteX6" fmla="*/ 473699 w 511799"/>
                  <a:gd name="connsiteY6" fmla="*/ 80963 h 195263"/>
                  <a:gd name="connsiteX7" fmla="*/ 511799 w 511799"/>
                  <a:gd name="connsiteY7" fmla="*/ 185738 h 195263"/>
                  <a:gd name="connsiteX8" fmla="*/ 73649 w 511799"/>
                  <a:gd name="connsiteY8" fmla="*/ 195263 h 195263"/>
                  <a:gd name="connsiteX0" fmla="*/ 73649 w 511799"/>
                  <a:gd name="connsiteY0" fmla="*/ 195263 h 195263"/>
                  <a:gd name="connsiteX1" fmla="*/ 2211 w 511799"/>
                  <a:gd name="connsiteY1" fmla="*/ 195263 h 195263"/>
                  <a:gd name="connsiteX2" fmla="*/ 0 w 511799"/>
                  <a:gd name="connsiteY2" fmla="*/ 65347 h 195263"/>
                  <a:gd name="connsiteX3" fmla="*/ 45782 w 511799"/>
                  <a:gd name="connsiteY3" fmla="*/ 0 h 195263"/>
                  <a:gd name="connsiteX4" fmla="*/ 321299 w 511799"/>
                  <a:gd name="connsiteY4" fmla="*/ 0 h 195263"/>
                  <a:gd name="connsiteX5" fmla="*/ 378449 w 511799"/>
                  <a:gd name="connsiteY5" fmla="*/ 85725 h 195263"/>
                  <a:gd name="connsiteX6" fmla="*/ 473699 w 511799"/>
                  <a:gd name="connsiteY6" fmla="*/ 80963 h 195263"/>
                  <a:gd name="connsiteX7" fmla="*/ 511799 w 511799"/>
                  <a:gd name="connsiteY7" fmla="*/ 185738 h 195263"/>
                  <a:gd name="connsiteX8" fmla="*/ 73649 w 511799"/>
                  <a:gd name="connsiteY8" fmla="*/ 195263 h 195263"/>
                  <a:gd name="connsiteX0" fmla="*/ 71438 w 509588"/>
                  <a:gd name="connsiteY0" fmla="*/ 195263 h 195263"/>
                  <a:gd name="connsiteX1" fmla="*/ 0 w 509588"/>
                  <a:gd name="connsiteY1" fmla="*/ 195263 h 195263"/>
                  <a:gd name="connsiteX2" fmla="*/ 11951 w 509588"/>
                  <a:gd name="connsiteY2" fmla="*/ 77438 h 195263"/>
                  <a:gd name="connsiteX3" fmla="*/ 43571 w 509588"/>
                  <a:gd name="connsiteY3" fmla="*/ 0 h 195263"/>
                  <a:gd name="connsiteX4" fmla="*/ 319088 w 509588"/>
                  <a:gd name="connsiteY4" fmla="*/ 0 h 195263"/>
                  <a:gd name="connsiteX5" fmla="*/ 376238 w 509588"/>
                  <a:gd name="connsiteY5" fmla="*/ 85725 h 195263"/>
                  <a:gd name="connsiteX6" fmla="*/ 471488 w 509588"/>
                  <a:gd name="connsiteY6" fmla="*/ 80963 h 195263"/>
                  <a:gd name="connsiteX7" fmla="*/ 509588 w 509588"/>
                  <a:gd name="connsiteY7" fmla="*/ 185738 h 195263"/>
                  <a:gd name="connsiteX8" fmla="*/ 71438 w 509588"/>
                  <a:gd name="connsiteY8" fmla="*/ 195263 h 195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9588" h="195263">
                    <a:moveTo>
                      <a:pt x="71438" y="195263"/>
                    </a:moveTo>
                    <a:lnTo>
                      <a:pt x="0" y="195263"/>
                    </a:lnTo>
                    <a:lnTo>
                      <a:pt x="11951" y="77438"/>
                    </a:lnTo>
                    <a:lnTo>
                      <a:pt x="43571" y="0"/>
                    </a:lnTo>
                    <a:lnTo>
                      <a:pt x="319088" y="0"/>
                    </a:lnTo>
                    <a:lnTo>
                      <a:pt x="376238" y="85725"/>
                    </a:lnTo>
                    <a:lnTo>
                      <a:pt x="471488" y="80963"/>
                    </a:lnTo>
                    <a:lnTo>
                      <a:pt x="509588" y="185738"/>
                    </a:lnTo>
                    <a:lnTo>
                      <a:pt x="71438" y="195263"/>
                    </a:lnTo>
                    <a:close/>
                  </a:path>
                </a:pathLst>
              </a:custGeom>
              <a:solidFill>
                <a:schemeClr val="accent3"/>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sp>
            <p:nvSpPr>
              <p:cNvPr id="110" name="Freeform 109"/>
              <p:cNvSpPr/>
              <p:nvPr/>
            </p:nvSpPr>
            <p:spPr>
              <a:xfrm>
                <a:off x="5891997" y="5110897"/>
                <a:ext cx="104775" cy="77081"/>
              </a:xfrm>
              <a:custGeom>
                <a:avLst/>
                <a:gdLst>
                  <a:gd name="connsiteX0" fmla="*/ 33338 w 95250"/>
                  <a:gd name="connsiteY0" fmla="*/ 0 h 61912"/>
                  <a:gd name="connsiteX1" fmla="*/ 0 w 95250"/>
                  <a:gd name="connsiteY1" fmla="*/ 61912 h 61912"/>
                  <a:gd name="connsiteX2" fmla="*/ 95250 w 95250"/>
                  <a:gd name="connsiteY2" fmla="*/ 61912 h 61912"/>
                  <a:gd name="connsiteX3" fmla="*/ 95250 w 95250"/>
                  <a:gd name="connsiteY3" fmla="*/ 4762 h 61912"/>
                  <a:gd name="connsiteX4" fmla="*/ 33338 w 95250"/>
                  <a:gd name="connsiteY4" fmla="*/ 0 h 61912"/>
                  <a:gd name="connsiteX0" fmla="*/ 33338 w 95250"/>
                  <a:gd name="connsiteY0" fmla="*/ 8343 h 70255"/>
                  <a:gd name="connsiteX1" fmla="*/ 0 w 95250"/>
                  <a:gd name="connsiteY1" fmla="*/ 70255 h 70255"/>
                  <a:gd name="connsiteX2" fmla="*/ 95250 w 95250"/>
                  <a:gd name="connsiteY2" fmla="*/ 70255 h 70255"/>
                  <a:gd name="connsiteX3" fmla="*/ 95250 w 95250"/>
                  <a:gd name="connsiteY3" fmla="*/ 0 h 70255"/>
                  <a:gd name="connsiteX4" fmla="*/ 33338 w 95250"/>
                  <a:gd name="connsiteY4" fmla="*/ 8343 h 70255"/>
                  <a:gd name="connsiteX0" fmla="*/ 33338 w 95250"/>
                  <a:gd name="connsiteY0" fmla="*/ 0 h 61912"/>
                  <a:gd name="connsiteX1" fmla="*/ 0 w 95250"/>
                  <a:gd name="connsiteY1" fmla="*/ 61912 h 61912"/>
                  <a:gd name="connsiteX2" fmla="*/ 95250 w 95250"/>
                  <a:gd name="connsiteY2" fmla="*/ 61912 h 61912"/>
                  <a:gd name="connsiteX3" fmla="*/ 95250 w 95250"/>
                  <a:gd name="connsiteY3" fmla="*/ 2578 h 61912"/>
                  <a:gd name="connsiteX4" fmla="*/ 33338 w 95250"/>
                  <a:gd name="connsiteY4" fmla="*/ 0 h 61912"/>
                  <a:gd name="connsiteX0" fmla="*/ 33338 w 95250"/>
                  <a:gd name="connsiteY0" fmla="*/ 1791 h 63703"/>
                  <a:gd name="connsiteX1" fmla="*/ 0 w 95250"/>
                  <a:gd name="connsiteY1" fmla="*/ 63703 h 63703"/>
                  <a:gd name="connsiteX2" fmla="*/ 95250 w 95250"/>
                  <a:gd name="connsiteY2" fmla="*/ 63703 h 63703"/>
                  <a:gd name="connsiteX3" fmla="*/ 95250 w 95250"/>
                  <a:gd name="connsiteY3" fmla="*/ 0 h 63703"/>
                  <a:gd name="connsiteX4" fmla="*/ 33338 w 95250"/>
                  <a:gd name="connsiteY4" fmla="*/ 1791 h 63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63703">
                    <a:moveTo>
                      <a:pt x="33338" y="1791"/>
                    </a:moveTo>
                    <a:lnTo>
                      <a:pt x="0" y="63703"/>
                    </a:lnTo>
                    <a:lnTo>
                      <a:pt x="95250" y="63703"/>
                    </a:lnTo>
                    <a:lnTo>
                      <a:pt x="95250" y="0"/>
                    </a:lnTo>
                    <a:lnTo>
                      <a:pt x="33338" y="1791"/>
                    </a:lnTo>
                    <a:close/>
                  </a:path>
                </a:pathLst>
              </a:custGeom>
              <a:solidFill>
                <a:schemeClr val="bg1"/>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sp>
            <p:nvSpPr>
              <p:cNvPr id="111" name="Oval 110"/>
              <p:cNvSpPr/>
              <p:nvPr/>
            </p:nvSpPr>
            <p:spPr>
              <a:xfrm>
                <a:off x="5897393" y="5254759"/>
                <a:ext cx="114767" cy="114767"/>
              </a:xfrm>
              <a:prstGeom prst="ellipse">
                <a:avLst/>
              </a:prstGeom>
              <a:solidFill>
                <a:schemeClr val="bg1"/>
              </a:solidFill>
              <a:ln w="28575" cap="flat">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sp>
            <p:nvSpPr>
              <p:cNvPr id="112" name="Oval 111"/>
              <p:cNvSpPr/>
              <p:nvPr/>
            </p:nvSpPr>
            <p:spPr>
              <a:xfrm>
                <a:off x="6416188" y="5245298"/>
                <a:ext cx="114767" cy="124228"/>
              </a:xfrm>
              <a:prstGeom prst="ellipse">
                <a:avLst/>
              </a:prstGeom>
              <a:solidFill>
                <a:schemeClr val="bg1"/>
              </a:solidFill>
              <a:ln w="28575" cap="flat">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sp>
            <p:nvSpPr>
              <p:cNvPr id="113" name="Freeform 112"/>
              <p:cNvSpPr/>
              <p:nvPr/>
            </p:nvSpPr>
            <p:spPr>
              <a:xfrm flipH="1">
                <a:off x="6208082" y="5110897"/>
                <a:ext cx="155364" cy="77081"/>
              </a:xfrm>
              <a:custGeom>
                <a:avLst/>
                <a:gdLst>
                  <a:gd name="connsiteX0" fmla="*/ 33338 w 95250"/>
                  <a:gd name="connsiteY0" fmla="*/ 0 h 61912"/>
                  <a:gd name="connsiteX1" fmla="*/ 0 w 95250"/>
                  <a:gd name="connsiteY1" fmla="*/ 61912 h 61912"/>
                  <a:gd name="connsiteX2" fmla="*/ 95250 w 95250"/>
                  <a:gd name="connsiteY2" fmla="*/ 61912 h 61912"/>
                  <a:gd name="connsiteX3" fmla="*/ 95250 w 95250"/>
                  <a:gd name="connsiteY3" fmla="*/ 4762 h 61912"/>
                  <a:gd name="connsiteX4" fmla="*/ 33338 w 95250"/>
                  <a:gd name="connsiteY4" fmla="*/ 0 h 61912"/>
                  <a:gd name="connsiteX0" fmla="*/ 33338 w 95250"/>
                  <a:gd name="connsiteY0" fmla="*/ 8343 h 70255"/>
                  <a:gd name="connsiteX1" fmla="*/ 0 w 95250"/>
                  <a:gd name="connsiteY1" fmla="*/ 70255 h 70255"/>
                  <a:gd name="connsiteX2" fmla="*/ 95250 w 95250"/>
                  <a:gd name="connsiteY2" fmla="*/ 70255 h 70255"/>
                  <a:gd name="connsiteX3" fmla="*/ 95250 w 95250"/>
                  <a:gd name="connsiteY3" fmla="*/ 0 h 70255"/>
                  <a:gd name="connsiteX4" fmla="*/ 33338 w 95250"/>
                  <a:gd name="connsiteY4" fmla="*/ 8343 h 70255"/>
                  <a:gd name="connsiteX0" fmla="*/ 33338 w 95250"/>
                  <a:gd name="connsiteY0" fmla="*/ 0 h 61912"/>
                  <a:gd name="connsiteX1" fmla="*/ 0 w 95250"/>
                  <a:gd name="connsiteY1" fmla="*/ 61912 h 61912"/>
                  <a:gd name="connsiteX2" fmla="*/ 95250 w 95250"/>
                  <a:gd name="connsiteY2" fmla="*/ 61912 h 61912"/>
                  <a:gd name="connsiteX3" fmla="*/ 95250 w 95250"/>
                  <a:gd name="connsiteY3" fmla="*/ 2578 h 61912"/>
                  <a:gd name="connsiteX4" fmla="*/ 33338 w 95250"/>
                  <a:gd name="connsiteY4" fmla="*/ 0 h 61912"/>
                  <a:gd name="connsiteX0" fmla="*/ 33338 w 95250"/>
                  <a:gd name="connsiteY0" fmla="*/ 1791 h 63703"/>
                  <a:gd name="connsiteX1" fmla="*/ 0 w 95250"/>
                  <a:gd name="connsiteY1" fmla="*/ 63703 h 63703"/>
                  <a:gd name="connsiteX2" fmla="*/ 95250 w 95250"/>
                  <a:gd name="connsiteY2" fmla="*/ 63703 h 63703"/>
                  <a:gd name="connsiteX3" fmla="*/ 95250 w 95250"/>
                  <a:gd name="connsiteY3" fmla="*/ 0 h 63703"/>
                  <a:gd name="connsiteX4" fmla="*/ 33338 w 95250"/>
                  <a:gd name="connsiteY4" fmla="*/ 1791 h 63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63703">
                    <a:moveTo>
                      <a:pt x="33338" y="1791"/>
                    </a:moveTo>
                    <a:lnTo>
                      <a:pt x="0" y="63703"/>
                    </a:lnTo>
                    <a:lnTo>
                      <a:pt x="95250" y="63703"/>
                    </a:lnTo>
                    <a:lnTo>
                      <a:pt x="95250" y="0"/>
                    </a:lnTo>
                    <a:lnTo>
                      <a:pt x="33338" y="1791"/>
                    </a:lnTo>
                    <a:close/>
                  </a:path>
                </a:pathLst>
              </a:custGeom>
              <a:solidFill>
                <a:schemeClr val="bg1"/>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sp>
            <p:nvSpPr>
              <p:cNvPr id="114" name="Rectangle 113"/>
              <p:cNvSpPr/>
              <p:nvPr/>
            </p:nvSpPr>
            <p:spPr>
              <a:xfrm>
                <a:off x="6039238" y="5110897"/>
                <a:ext cx="120596" cy="77081"/>
              </a:xfrm>
              <a:prstGeom prst="rect">
                <a:avLst/>
              </a:prstGeom>
              <a:solidFill>
                <a:schemeClr val="bg1"/>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grpSp>
        <p:grpSp>
          <p:nvGrpSpPr>
            <p:cNvPr id="115" name="Group 114"/>
            <p:cNvGrpSpPr/>
            <p:nvPr/>
          </p:nvGrpSpPr>
          <p:grpSpPr>
            <a:xfrm>
              <a:off x="7500409" y="3745313"/>
              <a:ext cx="560547" cy="284342"/>
              <a:chOff x="7251813" y="4325948"/>
              <a:chExt cx="560547" cy="284342"/>
            </a:xfrm>
          </p:grpSpPr>
          <p:sp>
            <p:nvSpPr>
              <p:cNvPr id="116" name="Freeform 115"/>
              <p:cNvSpPr/>
              <p:nvPr/>
            </p:nvSpPr>
            <p:spPr>
              <a:xfrm>
                <a:off x="7251813" y="4325948"/>
                <a:ext cx="560547" cy="236268"/>
              </a:xfrm>
              <a:custGeom>
                <a:avLst/>
                <a:gdLst>
                  <a:gd name="connsiteX0" fmla="*/ 71438 w 509588"/>
                  <a:gd name="connsiteY0" fmla="*/ 195263 h 195263"/>
                  <a:gd name="connsiteX1" fmla="*/ 0 w 509588"/>
                  <a:gd name="connsiteY1" fmla="*/ 195263 h 195263"/>
                  <a:gd name="connsiteX2" fmla="*/ 28575 w 509588"/>
                  <a:gd name="connsiteY2" fmla="*/ 104775 h 195263"/>
                  <a:gd name="connsiteX3" fmla="*/ 100013 w 509588"/>
                  <a:gd name="connsiteY3" fmla="*/ 0 h 195263"/>
                  <a:gd name="connsiteX4" fmla="*/ 319088 w 509588"/>
                  <a:gd name="connsiteY4" fmla="*/ 0 h 195263"/>
                  <a:gd name="connsiteX5" fmla="*/ 376238 w 509588"/>
                  <a:gd name="connsiteY5" fmla="*/ 85725 h 195263"/>
                  <a:gd name="connsiteX6" fmla="*/ 471488 w 509588"/>
                  <a:gd name="connsiteY6" fmla="*/ 80963 h 195263"/>
                  <a:gd name="connsiteX7" fmla="*/ 509588 w 509588"/>
                  <a:gd name="connsiteY7" fmla="*/ 185738 h 195263"/>
                  <a:gd name="connsiteX8" fmla="*/ 71438 w 509588"/>
                  <a:gd name="connsiteY8" fmla="*/ 195263 h 195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9588" h="195263">
                    <a:moveTo>
                      <a:pt x="71438" y="195263"/>
                    </a:moveTo>
                    <a:lnTo>
                      <a:pt x="0" y="195263"/>
                    </a:lnTo>
                    <a:lnTo>
                      <a:pt x="28575" y="104775"/>
                    </a:lnTo>
                    <a:lnTo>
                      <a:pt x="100013" y="0"/>
                    </a:lnTo>
                    <a:lnTo>
                      <a:pt x="319088" y="0"/>
                    </a:lnTo>
                    <a:lnTo>
                      <a:pt x="376238" y="85725"/>
                    </a:lnTo>
                    <a:lnTo>
                      <a:pt x="471488" y="80963"/>
                    </a:lnTo>
                    <a:lnTo>
                      <a:pt x="509588" y="185738"/>
                    </a:lnTo>
                    <a:lnTo>
                      <a:pt x="71438" y="195263"/>
                    </a:lnTo>
                    <a:close/>
                  </a:path>
                </a:pathLst>
              </a:custGeom>
              <a:solidFill>
                <a:schemeClr val="accent3"/>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sp>
            <p:nvSpPr>
              <p:cNvPr id="117" name="Freeform 116"/>
              <p:cNvSpPr/>
              <p:nvPr/>
            </p:nvSpPr>
            <p:spPr>
              <a:xfrm>
                <a:off x="7344902" y="4352595"/>
                <a:ext cx="104775" cy="77081"/>
              </a:xfrm>
              <a:custGeom>
                <a:avLst/>
                <a:gdLst>
                  <a:gd name="connsiteX0" fmla="*/ 33338 w 95250"/>
                  <a:gd name="connsiteY0" fmla="*/ 0 h 61912"/>
                  <a:gd name="connsiteX1" fmla="*/ 0 w 95250"/>
                  <a:gd name="connsiteY1" fmla="*/ 61912 h 61912"/>
                  <a:gd name="connsiteX2" fmla="*/ 95250 w 95250"/>
                  <a:gd name="connsiteY2" fmla="*/ 61912 h 61912"/>
                  <a:gd name="connsiteX3" fmla="*/ 95250 w 95250"/>
                  <a:gd name="connsiteY3" fmla="*/ 4762 h 61912"/>
                  <a:gd name="connsiteX4" fmla="*/ 33338 w 95250"/>
                  <a:gd name="connsiteY4" fmla="*/ 0 h 61912"/>
                  <a:gd name="connsiteX0" fmla="*/ 33338 w 95250"/>
                  <a:gd name="connsiteY0" fmla="*/ 8343 h 70255"/>
                  <a:gd name="connsiteX1" fmla="*/ 0 w 95250"/>
                  <a:gd name="connsiteY1" fmla="*/ 70255 h 70255"/>
                  <a:gd name="connsiteX2" fmla="*/ 95250 w 95250"/>
                  <a:gd name="connsiteY2" fmla="*/ 70255 h 70255"/>
                  <a:gd name="connsiteX3" fmla="*/ 95250 w 95250"/>
                  <a:gd name="connsiteY3" fmla="*/ 0 h 70255"/>
                  <a:gd name="connsiteX4" fmla="*/ 33338 w 95250"/>
                  <a:gd name="connsiteY4" fmla="*/ 8343 h 70255"/>
                  <a:gd name="connsiteX0" fmla="*/ 33338 w 95250"/>
                  <a:gd name="connsiteY0" fmla="*/ 0 h 61912"/>
                  <a:gd name="connsiteX1" fmla="*/ 0 w 95250"/>
                  <a:gd name="connsiteY1" fmla="*/ 61912 h 61912"/>
                  <a:gd name="connsiteX2" fmla="*/ 95250 w 95250"/>
                  <a:gd name="connsiteY2" fmla="*/ 61912 h 61912"/>
                  <a:gd name="connsiteX3" fmla="*/ 95250 w 95250"/>
                  <a:gd name="connsiteY3" fmla="*/ 2578 h 61912"/>
                  <a:gd name="connsiteX4" fmla="*/ 33338 w 95250"/>
                  <a:gd name="connsiteY4" fmla="*/ 0 h 61912"/>
                  <a:gd name="connsiteX0" fmla="*/ 33338 w 95250"/>
                  <a:gd name="connsiteY0" fmla="*/ 1791 h 63703"/>
                  <a:gd name="connsiteX1" fmla="*/ 0 w 95250"/>
                  <a:gd name="connsiteY1" fmla="*/ 63703 h 63703"/>
                  <a:gd name="connsiteX2" fmla="*/ 95250 w 95250"/>
                  <a:gd name="connsiteY2" fmla="*/ 63703 h 63703"/>
                  <a:gd name="connsiteX3" fmla="*/ 95250 w 95250"/>
                  <a:gd name="connsiteY3" fmla="*/ 0 h 63703"/>
                  <a:gd name="connsiteX4" fmla="*/ 33338 w 95250"/>
                  <a:gd name="connsiteY4" fmla="*/ 1791 h 63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63703">
                    <a:moveTo>
                      <a:pt x="33338" y="1791"/>
                    </a:moveTo>
                    <a:lnTo>
                      <a:pt x="0" y="63703"/>
                    </a:lnTo>
                    <a:lnTo>
                      <a:pt x="95250" y="63703"/>
                    </a:lnTo>
                    <a:lnTo>
                      <a:pt x="95250" y="0"/>
                    </a:lnTo>
                    <a:lnTo>
                      <a:pt x="33338" y="1791"/>
                    </a:lnTo>
                    <a:close/>
                  </a:path>
                </a:pathLst>
              </a:custGeom>
              <a:solidFill>
                <a:schemeClr val="bg1"/>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sp>
            <p:nvSpPr>
              <p:cNvPr id="118" name="Oval 117"/>
              <p:cNvSpPr/>
              <p:nvPr/>
            </p:nvSpPr>
            <p:spPr>
              <a:xfrm>
                <a:off x="7305909" y="4495523"/>
                <a:ext cx="114767" cy="114767"/>
              </a:xfrm>
              <a:prstGeom prst="ellipse">
                <a:avLst/>
              </a:prstGeom>
              <a:solidFill>
                <a:schemeClr val="bg1"/>
              </a:solidFill>
              <a:ln w="28575" cap="flat">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sp>
            <p:nvSpPr>
              <p:cNvPr id="119" name="Oval 118"/>
              <p:cNvSpPr/>
              <p:nvPr/>
            </p:nvSpPr>
            <p:spPr>
              <a:xfrm>
                <a:off x="7649021" y="4486062"/>
                <a:ext cx="114767" cy="124228"/>
              </a:xfrm>
              <a:prstGeom prst="ellipse">
                <a:avLst/>
              </a:prstGeom>
              <a:solidFill>
                <a:schemeClr val="bg1"/>
              </a:solidFill>
              <a:ln w="28575" cap="flat">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sp>
            <p:nvSpPr>
              <p:cNvPr id="120" name="Freeform 119"/>
              <p:cNvSpPr/>
              <p:nvPr/>
            </p:nvSpPr>
            <p:spPr>
              <a:xfrm flipH="1">
                <a:off x="7476976" y="4351661"/>
                <a:ext cx="155364" cy="77081"/>
              </a:xfrm>
              <a:custGeom>
                <a:avLst/>
                <a:gdLst>
                  <a:gd name="connsiteX0" fmla="*/ 33338 w 95250"/>
                  <a:gd name="connsiteY0" fmla="*/ 0 h 61912"/>
                  <a:gd name="connsiteX1" fmla="*/ 0 w 95250"/>
                  <a:gd name="connsiteY1" fmla="*/ 61912 h 61912"/>
                  <a:gd name="connsiteX2" fmla="*/ 95250 w 95250"/>
                  <a:gd name="connsiteY2" fmla="*/ 61912 h 61912"/>
                  <a:gd name="connsiteX3" fmla="*/ 95250 w 95250"/>
                  <a:gd name="connsiteY3" fmla="*/ 4762 h 61912"/>
                  <a:gd name="connsiteX4" fmla="*/ 33338 w 95250"/>
                  <a:gd name="connsiteY4" fmla="*/ 0 h 61912"/>
                  <a:gd name="connsiteX0" fmla="*/ 33338 w 95250"/>
                  <a:gd name="connsiteY0" fmla="*/ 8343 h 70255"/>
                  <a:gd name="connsiteX1" fmla="*/ 0 w 95250"/>
                  <a:gd name="connsiteY1" fmla="*/ 70255 h 70255"/>
                  <a:gd name="connsiteX2" fmla="*/ 95250 w 95250"/>
                  <a:gd name="connsiteY2" fmla="*/ 70255 h 70255"/>
                  <a:gd name="connsiteX3" fmla="*/ 95250 w 95250"/>
                  <a:gd name="connsiteY3" fmla="*/ 0 h 70255"/>
                  <a:gd name="connsiteX4" fmla="*/ 33338 w 95250"/>
                  <a:gd name="connsiteY4" fmla="*/ 8343 h 70255"/>
                  <a:gd name="connsiteX0" fmla="*/ 33338 w 95250"/>
                  <a:gd name="connsiteY0" fmla="*/ 0 h 61912"/>
                  <a:gd name="connsiteX1" fmla="*/ 0 w 95250"/>
                  <a:gd name="connsiteY1" fmla="*/ 61912 h 61912"/>
                  <a:gd name="connsiteX2" fmla="*/ 95250 w 95250"/>
                  <a:gd name="connsiteY2" fmla="*/ 61912 h 61912"/>
                  <a:gd name="connsiteX3" fmla="*/ 95250 w 95250"/>
                  <a:gd name="connsiteY3" fmla="*/ 2578 h 61912"/>
                  <a:gd name="connsiteX4" fmla="*/ 33338 w 95250"/>
                  <a:gd name="connsiteY4" fmla="*/ 0 h 61912"/>
                  <a:gd name="connsiteX0" fmla="*/ 33338 w 95250"/>
                  <a:gd name="connsiteY0" fmla="*/ 1791 h 63703"/>
                  <a:gd name="connsiteX1" fmla="*/ 0 w 95250"/>
                  <a:gd name="connsiteY1" fmla="*/ 63703 h 63703"/>
                  <a:gd name="connsiteX2" fmla="*/ 95250 w 95250"/>
                  <a:gd name="connsiteY2" fmla="*/ 63703 h 63703"/>
                  <a:gd name="connsiteX3" fmla="*/ 95250 w 95250"/>
                  <a:gd name="connsiteY3" fmla="*/ 0 h 63703"/>
                  <a:gd name="connsiteX4" fmla="*/ 33338 w 95250"/>
                  <a:gd name="connsiteY4" fmla="*/ 1791 h 63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63703">
                    <a:moveTo>
                      <a:pt x="33338" y="1791"/>
                    </a:moveTo>
                    <a:lnTo>
                      <a:pt x="0" y="63703"/>
                    </a:lnTo>
                    <a:lnTo>
                      <a:pt x="95250" y="63703"/>
                    </a:lnTo>
                    <a:lnTo>
                      <a:pt x="95250" y="0"/>
                    </a:lnTo>
                    <a:lnTo>
                      <a:pt x="33338" y="1791"/>
                    </a:lnTo>
                    <a:close/>
                  </a:path>
                </a:pathLst>
              </a:custGeom>
              <a:solidFill>
                <a:schemeClr val="bg1"/>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grpSp>
        <p:sp>
          <p:nvSpPr>
            <p:cNvPr id="121" name="TextBox 120"/>
            <p:cNvSpPr txBox="1"/>
            <p:nvPr/>
          </p:nvSpPr>
          <p:spPr>
            <a:xfrm>
              <a:off x="1739769" y="3429523"/>
              <a:ext cx="618090" cy="193899"/>
            </a:xfrm>
            <a:prstGeom prst="rect">
              <a:avLst/>
            </a:prstGeom>
            <a:noFill/>
            <a:ln w="6350" cap="flat">
              <a:noFill/>
              <a:miter lim="800000"/>
            </a:ln>
          </p:spPr>
          <p:txBody>
            <a:bodyPr wrap="square" lIns="0" tIns="0" rIns="0" bIns="0" rtlCol="0" anchor="t" anchorCtr="0">
              <a:spAutoFit/>
            </a:bodyPr>
            <a:lstStyle/>
            <a:p>
              <a:pPr>
                <a:lnSpc>
                  <a:spcPct val="90000"/>
                </a:lnSpc>
                <a:spcBef>
                  <a:spcPts val="600"/>
                </a:spcBef>
                <a:buClr>
                  <a:schemeClr val="bg2"/>
                </a:buClr>
              </a:pPr>
              <a:r>
                <a:rPr lang="en-US" sz="1400" b="1" dirty="0">
                  <a:solidFill>
                    <a:schemeClr val="bg2"/>
                  </a:solidFill>
                  <a:latin typeface="Arial" pitchFamily="34" charset="0"/>
                  <a:cs typeface="Arial" pitchFamily="34" charset="0"/>
                </a:rPr>
                <a:t>Point A</a:t>
              </a:r>
            </a:p>
          </p:txBody>
        </p:sp>
        <p:sp>
          <p:nvSpPr>
            <p:cNvPr id="122" name="TextBox 121"/>
            <p:cNvSpPr txBox="1"/>
            <p:nvPr/>
          </p:nvSpPr>
          <p:spPr>
            <a:xfrm>
              <a:off x="9768661" y="3429523"/>
              <a:ext cx="679899" cy="193899"/>
            </a:xfrm>
            <a:prstGeom prst="rect">
              <a:avLst/>
            </a:prstGeom>
            <a:noFill/>
            <a:ln w="6350" cap="flat">
              <a:noFill/>
              <a:miter lim="800000"/>
            </a:ln>
          </p:spPr>
          <p:txBody>
            <a:bodyPr wrap="square" lIns="0" tIns="0" rIns="0" bIns="0" rtlCol="0" anchor="t" anchorCtr="0">
              <a:spAutoFit/>
            </a:bodyPr>
            <a:lstStyle/>
            <a:p>
              <a:pPr>
                <a:lnSpc>
                  <a:spcPct val="90000"/>
                </a:lnSpc>
                <a:spcBef>
                  <a:spcPts val="600"/>
                </a:spcBef>
                <a:buClr>
                  <a:schemeClr val="bg2"/>
                </a:buClr>
              </a:pPr>
              <a:r>
                <a:rPr lang="en-US" sz="1400" b="1" dirty="0">
                  <a:solidFill>
                    <a:schemeClr val="bg2"/>
                  </a:solidFill>
                  <a:latin typeface="Arial" pitchFamily="34" charset="0"/>
                  <a:cs typeface="Arial" pitchFamily="34" charset="0"/>
                </a:rPr>
                <a:t>Point B</a:t>
              </a:r>
            </a:p>
          </p:txBody>
        </p:sp>
        <p:sp>
          <p:nvSpPr>
            <p:cNvPr id="123" name="Oval 122"/>
            <p:cNvSpPr/>
            <p:nvPr/>
          </p:nvSpPr>
          <p:spPr>
            <a:xfrm>
              <a:off x="1913544" y="3646826"/>
              <a:ext cx="150261" cy="150261"/>
            </a:xfrm>
            <a:prstGeom prst="ellipse">
              <a:avLst/>
            </a:prstGeom>
            <a:solidFill>
              <a:schemeClr val="bg2"/>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sp>
          <p:nvSpPr>
            <p:cNvPr id="124" name="Oval 123"/>
            <p:cNvSpPr/>
            <p:nvPr/>
          </p:nvSpPr>
          <p:spPr>
            <a:xfrm>
              <a:off x="9972003" y="3646826"/>
              <a:ext cx="150261" cy="150261"/>
            </a:xfrm>
            <a:prstGeom prst="ellipse">
              <a:avLst/>
            </a:prstGeom>
            <a:solidFill>
              <a:schemeClr val="bg2"/>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cxnSp>
          <p:nvCxnSpPr>
            <p:cNvPr id="125" name="Straight Connector 124"/>
            <p:cNvCxnSpPr>
              <a:stCxn id="94" idx="2"/>
            </p:cNvCxnSpPr>
            <p:nvPr/>
          </p:nvCxnSpPr>
          <p:spPr>
            <a:xfrm>
              <a:off x="5522719" y="2061488"/>
              <a:ext cx="98047" cy="324036"/>
            </a:xfrm>
            <a:prstGeom prst="line">
              <a:avLst/>
            </a:prstGeom>
            <a:ln w="6350" cap="flat">
              <a:solidFill>
                <a:schemeClr val="accent3"/>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a:stCxn id="89" idx="2"/>
            </p:cNvCxnSpPr>
            <p:nvPr/>
          </p:nvCxnSpPr>
          <p:spPr>
            <a:xfrm flipH="1">
              <a:off x="6819968" y="2061488"/>
              <a:ext cx="47628" cy="351677"/>
            </a:xfrm>
            <a:prstGeom prst="line">
              <a:avLst/>
            </a:prstGeom>
            <a:ln w="6350" cap="flat">
              <a:solidFill>
                <a:schemeClr val="accent3"/>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a:stCxn id="90" idx="2"/>
            </p:cNvCxnSpPr>
            <p:nvPr/>
          </p:nvCxnSpPr>
          <p:spPr>
            <a:xfrm flipH="1">
              <a:off x="8006521" y="2061488"/>
              <a:ext cx="205952" cy="351677"/>
            </a:xfrm>
            <a:prstGeom prst="line">
              <a:avLst/>
            </a:prstGeom>
            <a:ln w="6350" cap="flat">
              <a:solidFill>
                <a:schemeClr val="accent3"/>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a:stCxn id="93" idx="2"/>
            </p:cNvCxnSpPr>
            <p:nvPr/>
          </p:nvCxnSpPr>
          <p:spPr>
            <a:xfrm>
              <a:off x="4005659" y="2061488"/>
              <a:ext cx="184526" cy="324036"/>
            </a:xfrm>
            <a:prstGeom prst="line">
              <a:avLst/>
            </a:prstGeom>
            <a:ln w="6350" cap="flat">
              <a:solidFill>
                <a:schemeClr val="accent3"/>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a:stCxn id="92" idx="3"/>
            </p:cNvCxnSpPr>
            <p:nvPr/>
          </p:nvCxnSpPr>
          <p:spPr>
            <a:xfrm>
              <a:off x="3031784" y="2302425"/>
              <a:ext cx="479769" cy="249298"/>
            </a:xfrm>
            <a:prstGeom prst="line">
              <a:avLst/>
            </a:prstGeom>
            <a:ln w="6350" cap="flat">
              <a:solidFill>
                <a:schemeClr val="accent3"/>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a:stCxn id="91" idx="1"/>
            </p:cNvCxnSpPr>
            <p:nvPr/>
          </p:nvCxnSpPr>
          <p:spPr>
            <a:xfrm flipH="1">
              <a:off x="8673024" y="2302424"/>
              <a:ext cx="513322" cy="249299"/>
            </a:xfrm>
            <a:prstGeom prst="line">
              <a:avLst/>
            </a:prstGeom>
            <a:ln w="6350" cap="flat">
              <a:solidFill>
                <a:schemeClr val="accent3"/>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a:stCxn id="100" idx="0"/>
            </p:cNvCxnSpPr>
            <p:nvPr/>
          </p:nvCxnSpPr>
          <p:spPr>
            <a:xfrm flipV="1">
              <a:off x="4084981" y="4609409"/>
              <a:ext cx="142549" cy="448598"/>
            </a:xfrm>
            <a:prstGeom prst="line">
              <a:avLst/>
            </a:prstGeom>
            <a:ln w="6350" cap="flat">
              <a:solidFill>
                <a:schemeClr val="accent3"/>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a:stCxn id="97" idx="1"/>
            </p:cNvCxnSpPr>
            <p:nvPr/>
          </p:nvCxnSpPr>
          <p:spPr>
            <a:xfrm flipH="1" flipV="1">
              <a:off x="8643812" y="4501398"/>
              <a:ext cx="494612" cy="265848"/>
            </a:xfrm>
            <a:prstGeom prst="line">
              <a:avLst/>
            </a:prstGeom>
            <a:ln w="6350" cap="flat">
              <a:solidFill>
                <a:schemeClr val="accent3"/>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a:stCxn id="96" idx="0"/>
            </p:cNvCxnSpPr>
            <p:nvPr/>
          </p:nvCxnSpPr>
          <p:spPr>
            <a:xfrm flipH="1" flipV="1">
              <a:off x="8006523" y="4609409"/>
              <a:ext cx="297838" cy="448598"/>
            </a:xfrm>
            <a:prstGeom prst="line">
              <a:avLst/>
            </a:prstGeom>
            <a:ln w="6350" cap="flat">
              <a:solidFill>
                <a:schemeClr val="accent3"/>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a:stCxn id="99" idx="3"/>
            </p:cNvCxnSpPr>
            <p:nvPr/>
          </p:nvCxnSpPr>
          <p:spPr>
            <a:xfrm flipV="1">
              <a:off x="3221706" y="4501398"/>
              <a:ext cx="343616" cy="182748"/>
            </a:xfrm>
            <a:prstGeom prst="line">
              <a:avLst/>
            </a:prstGeom>
            <a:ln w="6350" cap="flat">
              <a:solidFill>
                <a:schemeClr val="accent3"/>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a:stCxn id="95" idx="0"/>
            </p:cNvCxnSpPr>
            <p:nvPr/>
          </p:nvCxnSpPr>
          <p:spPr>
            <a:xfrm flipH="1" flipV="1">
              <a:off x="5485089" y="4609409"/>
              <a:ext cx="18350" cy="531698"/>
            </a:xfrm>
            <a:prstGeom prst="line">
              <a:avLst/>
            </a:prstGeom>
            <a:ln w="6350" cap="flat">
              <a:solidFill>
                <a:schemeClr val="accent3"/>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a:stCxn id="98" idx="0"/>
            </p:cNvCxnSpPr>
            <p:nvPr/>
          </p:nvCxnSpPr>
          <p:spPr>
            <a:xfrm flipH="1" flipV="1">
              <a:off x="6751891" y="4634321"/>
              <a:ext cx="146010" cy="423686"/>
            </a:xfrm>
            <a:prstGeom prst="line">
              <a:avLst/>
            </a:prstGeom>
            <a:ln w="6350" cap="flat">
              <a:solidFill>
                <a:schemeClr val="accent3"/>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38" name="Group 137"/>
            <p:cNvGrpSpPr/>
            <p:nvPr/>
          </p:nvGrpSpPr>
          <p:grpSpPr>
            <a:xfrm>
              <a:off x="7519517" y="2496054"/>
              <a:ext cx="895805" cy="342468"/>
              <a:chOff x="5995264" y="2719801"/>
              <a:chExt cx="895805" cy="342468"/>
            </a:xfrm>
          </p:grpSpPr>
          <p:sp>
            <p:nvSpPr>
              <p:cNvPr id="139" name="Freeform 138"/>
              <p:cNvSpPr/>
              <p:nvPr/>
            </p:nvSpPr>
            <p:spPr>
              <a:xfrm>
                <a:off x="5995264" y="2719801"/>
                <a:ext cx="895805" cy="342468"/>
              </a:xfrm>
              <a:custGeom>
                <a:avLst/>
                <a:gdLst>
                  <a:gd name="connsiteX0" fmla="*/ 1080654 w 1745673"/>
                  <a:gd name="connsiteY0" fmla="*/ 237507 h 807522"/>
                  <a:gd name="connsiteX1" fmla="*/ 1543792 w 1745673"/>
                  <a:gd name="connsiteY1" fmla="*/ 35626 h 807522"/>
                  <a:gd name="connsiteX2" fmla="*/ 1721922 w 1745673"/>
                  <a:gd name="connsiteY2" fmla="*/ 47501 h 807522"/>
                  <a:gd name="connsiteX3" fmla="*/ 1745673 w 1745673"/>
                  <a:gd name="connsiteY3" fmla="*/ 71252 h 807522"/>
                  <a:gd name="connsiteX4" fmla="*/ 1745673 w 1745673"/>
                  <a:gd name="connsiteY4" fmla="*/ 154379 h 807522"/>
                  <a:gd name="connsiteX5" fmla="*/ 1733797 w 1745673"/>
                  <a:gd name="connsiteY5" fmla="*/ 201881 h 807522"/>
                  <a:gd name="connsiteX6" fmla="*/ 760021 w 1745673"/>
                  <a:gd name="connsiteY6" fmla="*/ 724395 h 807522"/>
                  <a:gd name="connsiteX7" fmla="*/ 201880 w 1745673"/>
                  <a:gd name="connsiteY7" fmla="*/ 807522 h 807522"/>
                  <a:gd name="connsiteX8" fmla="*/ 0 w 1745673"/>
                  <a:gd name="connsiteY8" fmla="*/ 581891 h 807522"/>
                  <a:gd name="connsiteX9" fmla="*/ 59377 w 1745673"/>
                  <a:gd name="connsiteY9" fmla="*/ 534390 h 807522"/>
                  <a:gd name="connsiteX10" fmla="*/ 344384 w 1745673"/>
                  <a:gd name="connsiteY10" fmla="*/ 593766 h 807522"/>
                  <a:gd name="connsiteX11" fmla="*/ 795647 w 1745673"/>
                  <a:gd name="connsiteY11" fmla="*/ 403761 h 807522"/>
                  <a:gd name="connsiteX12" fmla="*/ 273132 w 1745673"/>
                  <a:gd name="connsiteY12" fmla="*/ 35626 h 807522"/>
                  <a:gd name="connsiteX13" fmla="*/ 332509 w 1745673"/>
                  <a:gd name="connsiteY13" fmla="*/ 0 h 807522"/>
                  <a:gd name="connsiteX14" fmla="*/ 1080654 w 1745673"/>
                  <a:gd name="connsiteY14" fmla="*/ 237507 h 807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45673" h="807522">
                    <a:moveTo>
                      <a:pt x="1080654" y="237507"/>
                    </a:moveTo>
                    <a:lnTo>
                      <a:pt x="1543792" y="35626"/>
                    </a:lnTo>
                    <a:lnTo>
                      <a:pt x="1721922" y="47501"/>
                    </a:lnTo>
                    <a:lnTo>
                      <a:pt x="1745673" y="71252"/>
                    </a:lnTo>
                    <a:lnTo>
                      <a:pt x="1745673" y="154379"/>
                    </a:lnTo>
                    <a:lnTo>
                      <a:pt x="1733797" y="201881"/>
                    </a:lnTo>
                    <a:lnTo>
                      <a:pt x="760021" y="724395"/>
                    </a:lnTo>
                    <a:lnTo>
                      <a:pt x="201880" y="807522"/>
                    </a:lnTo>
                    <a:lnTo>
                      <a:pt x="0" y="581891"/>
                    </a:lnTo>
                    <a:lnTo>
                      <a:pt x="59377" y="534390"/>
                    </a:lnTo>
                    <a:lnTo>
                      <a:pt x="344384" y="593766"/>
                    </a:lnTo>
                    <a:lnTo>
                      <a:pt x="795647" y="403761"/>
                    </a:lnTo>
                    <a:lnTo>
                      <a:pt x="273132" y="35626"/>
                    </a:lnTo>
                    <a:lnTo>
                      <a:pt x="332509" y="0"/>
                    </a:lnTo>
                    <a:lnTo>
                      <a:pt x="1080654" y="237507"/>
                    </a:lnTo>
                    <a:close/>
                  </a:path>
                </a:pathLst>
              </a:custGeom>
              <a:solidFill>
                <a:schemeClr val="accent3"/>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sp>
            <p:nvSpPr>
              <p:cNvPr id="140" name="Rounded Rectangle 139"/>
              <p:cNvSpPr/>
              <p:nvPr/>
            </p:nvSpPr>
            <p:spPr>
              <a:xfrm rot="20321420">
                <a:off x="6778304" y="2755699"/>
                <a:ext cx="30139" cy="24908"/>
              </a:xfrm>
              <a:prstGeom prst="roundRect">
                <a:avLst/>
              </a:prstGeom>
              <a:solidFill>
                <a:schemeClr val="bg1"/>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sp>
            <p:nvSpPr>
              <p:cNvPr id="141" name="Rounded Rectangle 140"/>
              <p:cNvSpPr/>
              <p:nvPr/>
            </p:nvSpPr>
            <p:spPr>
              <a:xfrm rot="20321420">
                <a:off x="6631382" y="2805113"/>
                <a:ext cx="30139" cy="24908"/>
              </a:xfrm>
              <a:prstGeom prst="roundRect">
                <a:avLst/>
              </a:prstGeom>
              <a:solidFill>
                <a:schemeClr val="bg1"/>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sp>
            <p:nvSpPr>
              <p:cNvPr id="142" name="Rounded Rectangle 141"/>
              <p:cNvSpPr/>
              <p:nvPr/>
            </p:nvSpPr>
            <p:spPr>
              <a:xfrm rot="20321420">
                <a:off x="6565777" y="2833625"/>
                <a:ext cx="30139" cy="24908"/>
              </a:xfrm>
              <a:prstGeom prst="roundRect">
                <a:avLst/>
              </a:prstGeom>
              <a:solidFill>
                <a:schemeClr val="bg1"/>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sp>
            <p:nvSpPr>
              <p:cNvPr id="143" name="Rounded Rectangle 142"/>
              <p:cNvSpPr/>
              <p:nvPr/>
            </p:nvSpPr>
            <p:spPr>
              <a:xfrm rot="20321420">
                <a:off x="6498340" y="2863065"/>
                <a:ext cx="30139" cy="24908"/>
              </a:xfrm>
              <a:prstGeom prst="roundRect">
                <a:avLst/>
              </a:prstGeom>
              <a:solidFill>
                <a:schemeClr val="bg1"/>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grpSp>
        <p:grpSp>
          <p:nvGrpSpPr>
            <p:cNvPr id="144" name="Group 143"/>
            <p:cNvGrpSpPr/>
            <p:nvPr/>
          </p:nvGrpSpPr>
          <p:grpSpPr>
            <a:xfrm>
              <a:off x="1919934" y="1729089"/>
              <a:ext cx="895805" cy="342468"/>
              <a:chOff x="5995264" y="2719801"/>
              <a:chExt cx="895805" cy="342468"/>
            </a:xfrm>
          </p:grpSpPr>
          <p:sp>
            <p:nvSpPr>
              <p:cNvPr id="145" name="Freeform 144"/>
              <p:cNvSpPr/>
              <p:nvPr/>
            </p:nvSpPr>
            <p:spPr>
              <a:xfrm>
                <a:off x="5995264" y="2719801"/>
                <a:ext cx="895805" cy="342468"/>
              </a:xfrm>
              <a:custGeom>
                <a:avLst/>
                <a:gdLst>
                  <a:gd name="connsiteX0" fmla="*/ 1080654 w 1745673"/>
                  <a:gd name="connsiteY0" fmla="*/ 237507 h 807522"/>
                  <a:gd name="connsiteX1" fmla="*/ 1543792 w 1745673"/>
                  <a:gd name="connsiteY1" fmla="*/ 35626 h 807522"/>
                  <a:gd name="connsiteX2" fmla="*/ 1721922 w 1745673"/>
                  <a:gd name="connsiteY2" fmla="*/ 47501 h 807522"/>
                  <a:gd name="connsiteX3" fmla="*/ 1745673 w 1745673"/>
                  <a:gd name="connsiteY3" fmla="*/ 71252 h 807522"/>
                  <a:gd name="connsiteX4" fmla="*/ 1745673 w 1745673"/>
                  <a:gd name="connsiteY4" fmla="*/ 154379 h 807522"/>
                  <a:gd name="connsiteX5" fmla="*/ 1733797 w 1745673"/>
                  <a:gd name="connsiteY5" fmla="*/ 201881 h 807522"/>
                  <a:gd name="connsiteX6" fmla="*/ 760021 w 1745673"/>
                  <a:gd name="connsiteY6" fmla="*/ 724395 h 807522"/>
                  <a:gd name="connsiteX7" fmla="*/ 201880 w 1745673"/>
                  <a:gd name="connsiteY7" fmla="*/ 807522 h 807522"/>
                  <a:gd name="connsiteX8" fmla="*/ 0 w 1745673"/>
                  <a:gd name="connsiteY8" fmla="*/ 581891 h 807522"/>
                  <a:gd name="connsiteX9" fmla="*/ 59377 w 1745673"/>
                  <a:gd name="connsiteY9" fmla="*/ 534390 h 807522"/>
                  <a:gd name="connsiteX10" fmla="*/ 344384 w 1745673"/>
                  <a:gd name="connsiteY10" fmla="*/ 593766 h 807522"/>
                  <a:gd name="connsiteX11" fmla="*/ 795647 w 1745673"/>
                  <a:gd name="connsiteY11" fmla="*/ 403761 h 807522"/>
                  <a:gd name="connsiteX12" fmla="*/ 273132 w 1745673"/>
                  <a:gd name="connsiteY12" fmla="*/ 35626 h 807522"/>
                  <a:gd name="connsiteX13" fmla="*/ 332509 w 1745673"/>
                  <a:gd name="connsiteY13" fmla="*/ 0 h 807522"/>
                  <a:gd name="connsiteX14" fmla="*/ 1080654 w 1745673"/>
                  <a:gd name="connsiteY14" fmla="*/ 237507 h 807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45673" h="807522">
                    <a:moveTo>
                      <a:pt x="1080654" y="237507"/>
                    </a:moveTo>
                    <a:lnTo>
                      <a:pt x="1543792" y="35626"/>
                    </a:lnTo>
                    <a:lnTo>
                      <a:pt x="1721922" y="47501"/>
                    </a:lnTo>
                    <a:lnTo>
                      <a:pt x="1745673" y="71252"/>
                    </a:lnTo>
                    <a:lnTo>
                      <a:pt x="1745673" y="154379"/>
                    </a:lnTo>
                    <a:lnTo>
                      <a:pt x="1733797" y="201881"/>
                    </a:lnTo>
                    <a:lnTo>
                      <a:pt x="760021" y="724395"/>
                    </a:lnTo>
                    <a:lnTo>
                      <a:pt x="201880" y="807522"/>
                    </a:lnTo>
                    <a:lnTo>
                      <a:pt x="0" y="581891"/>
                    </a:lnTo>
                    <a:lnTo>
                      <a:pt x="59377" y="534390"/>
                    </a:lnTo>
                    <a:lnTo>
                      <a:pt x="344384" y="593766"/>
                    </a:lnTo>
                    <a:lnTo>
                      <a:pt x="795647" y="403761"/>
                    </a:lnTo>
                    <a:lnTo>
                      <a:pt x="273132" y="35626"/>
                    </a:lnTo>
                    <a:lnTo>
                      <a:pt x="332509" y="0"/>
                    </a:lnTo>
                    <a:lnTo>
                      <a:pt x="1080654" y="237507"/>
                    </a:lnTo>
                    <a:close/>
                  </a:path>
                </a:pathLst>
              </a:custGeom>
              <a:solidFill>
                <a:schemeClr val="accent3"/>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sp>
            <p:nvSpPr>
              <p:cNvPr id="146" name="Rounded Rectangle 145"/>
              <p:cNvSpPr/>
              <p:nvPr/>
            </p:nvSpPr>
            <p:spPr>
              <a:xfrm rot="20321420">
                <a:off x="6778304" y="2755699"/>
                <a:ext cx="30139" cy="24908"/>
              </a:xfrm>
              <a:prstGeom prst="roundRect">
                <a:avLst/>
              </a:prstGeom>
              <a:solidFill>
                <a:schemeClr val="bg1"/>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sp>
            <p:nvSpPr>
              <p:cNvPr id="147" name="Rounded Rectangle 146"/>
              <p:cNvSpPr/>
              <p:nvPr/>
            </p:nvSpPr>
            <p:spPr>
              <a:xfrm rot="20321420">
                <a:off x="6631382" y="2805113"/>
                <a:ext cx="30139" cy="24908"/>
              </a:xfrm>
              <a:prstGeom prst="roundRect">
                <a:avLst/>
              </a:prstGeom>
              <a:solidFill>
                <a:schemeClr val="bg1"/>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sp>
            <p:nvSpPr>
              <p:cNvPr id="148" name="Rounded Rectangle 147"/>
              <p:cNvSpPr/>
              <p:nvPr/>
            </p:nvSpPr>
            <p:spPr>
              <a:xfrm rot="20321420">
                <a:off x="6565777" y="2833625"/>
                <a:ext cx="30139" cy="24908"/>
              </a:xfrm>
              <a:prstGeom prst="roundRect">
                <a:avLst/>
              </a:prstGeom>
              <a:solidFill>
                <a:schemeClr val="bg1"/>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sp>
            <p:nvSpPr>
              <p:cNvPr id="149" name="Rounded Rectangle 148"/>
              <p:cNvSpPr/>
              <p:nvPr/>
            </p:nvSpPr>
            <p:spPr>
              <a:xfrm rot="20321420">
                <a:off x="6498340" y="2863065"/>
                <a:ext cx="30139" cy="24908"/>
              </a:xfrm>
              <a:prstGeom prst="roundRect">
                <a:avLst/>
              </a:prstGeom>
              <a:solidFill>
                <a:schemeClr val="bg1"/>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grpSp>
        <p:grpSp>
          <p:nvGrpSpPr>
            <p:cNvPr id="150" name="Group 149"/>
            <p:cNvGrpSpPr/>
            <p:nvPr/>
          </p:nvGrpSpPr>
          <p:grpSpPr>
            <a:xfrm>
              <a:off x="5118343" y="3802521"/>
              <a:ext cx="425485" cy="258031"/>
              <a:chOff x="2449854" y="4408251"/>
              <a:chExt cx="425485" cy="258031"/>
            </a:xfrm>
          </p:grpSpPr>
          <p:sp>
            <p:nvSpPr>
              <p:cNvPr id="151" name="Oval 150"/>
              <p:cNvSpPr/>
              <p:nvPr/>
            </p:nvSpPr>
            <p:spPr>
              <a:xfrm>
                <a:off x="2449854" y="4531030"/>
                <a:ext cx="135252" cy="135252"/>
              </a:xfrm>
              <a:prstGeom prst="ellipse">
                <a:avLst/>
              </a:prstGeom>
              <a:noFill/>
              <a:ln w="19050" cap="flat">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sp>
            <p:nvSpPr>
              <p:cNvPr id="152" name="Oval 151"/>
              <p:cNvSpPr/>
              <p:nvPr/>
            </p:nvSpPr>
            <p:spPr>
              <a:xfrm>
                <a:off x="2740087" y="4531030"/>
                <a:ext cx="135252" cy="135252"/>
              </a:xfrm>
              <a:prstGeom prst="ellipse">
                <a:avLst/>
              </a:prstGeom>
              <a:noFill/>
              <a:ln w="19050" cap="flat">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cxnSp>
            <p:nvCxnSpPr>
              <p:cNvPr id="153" name="Straight Connector 152"/>
              <p:cNvCxnSpPr/>
              <p:nvPr/>
            </p:nvCxnSpPr>
            <p:spPr>
              <a:xfrm>
                <a:off x="2578458" y="4490968"/>
                <a:ext cx="184758" cy="0"/>
              </a:xfrm>
              <a:prstGeom prst="line">
                <a:avLst/>
              </a:prstGeom>
              <a:ln w="19050" cap="flat">
                <a:solidFill>
                  <a:schemeClr val="accent3"/>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4" name="Straight Connector 153"/>
              <p:cNvCxnSpPr/>
              <p:nvPr/>
            </p:nvCxnSpPr>
            <p:spPr>
              <a:xfrm>
                <a:off x="2573576" y="4466614"/>
                <a:ext cx="27521" cy="140833"/>
              </a:xfrm>
              <a:prstGeom prst="line">
                <a:avLst/>
              </a:prstGeom>
              <a:ln w="19050" cap="flat">
                <a:solidFill>
                  <a:schemeClr val="accent3"/>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a:endCxn id="158" idx="2"/>
              </p:cNvCxnSpPr>
              <p:nvPr/>
            </p:nvCxnSpPr>
            <p:spPr>
              <a:xfrm flipH="1">
                <a:off x="2660752" y="4490968"/>
                <a:ext cx="95577" cy="119501"/>
              </a:xfrm>
              <a:prstGeom prst="line">
                <a:avLst/>
              </a:prstGeom>
              <a:ln w="19050" cap="flat">
                <a:solidFill>
                  <a:schemeClr val="accent3"/>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p:nvPr/>
            </p:nvCxnSpPr>
            <p:spPr>
              <a:xfrm>
                <a:off x="2756133" y="4459374"/>
                <a:ext cx="58576" cy="145755"/>
              </a:xfrm>
              <a:prstGeom prst="line">
                <a:avLst/>
              </a:prstGeom>
              <a:ln w="19050" cap="flat">
                <a:solidFill>
                  <a:schemeClr val="accent3"/>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7" name="Straight Connector 156"/>
              <p:cNvCxnSpPr/>
              <p:nvPr/>
            </p:nvCxnSpPr>
            <p:spPr>
              <a:xfrm flipH="1">
                <a:off x="2524534" y="4593894"/>
                <a:ext cx="67624" cy="1"/>
              </a:xfrm>
              <a:prstGeom prst="line">
                <a:avLst/>
              </a:prstGeom>
              <a:ln w="19050" cap="flat">
                <a:solidFill>
                  <a:schemeClr val="accent3"/>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8" name="Rounded Rectangle 157"/>
              <p:cNvSpPr/>
              <p:nvPr/>
            </p:nvSpPr>
            <p:spPr>
              <a:xfrm>
                <a:off x="2625114" y="4525381"/>
                <a:ext cx="71275" cy="85088"/>
              </a:xfrm>
              <a:prstGeom prst="roundRect">
                <a:avLst/>
              </a:prstGeom>
              <a:solidFill>
                <a:schemeClr val="accent3"/>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sp>
            <p:nvSpPr>
              <p:cNvPr id="159" name="Oval 158"/>
              <p:cNvSpPr/>
              <p:nvPr/>
            </p:nvSpPr>
            <p:spPr>
              <a:xfrm>
                <a:off x="2623409" y="4433915"/>
                <a:ext cx="124069" cy="75205"/>
              </a:xfrm>
              <a:prstGeom prst="ellipse">
                <a:avLst/>
              </a:prstGeom>
              <a:solidFill>
                <a:schemeClr val="accent3"/>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sp>
            <p:nvSpPr>
              <p:cNvPr id="160" name="Rounded Rectangle 159"/>
              <p:cNvSpPr/>
              <p:nvPr/>
            </p:nvSpPr>
            <p:spPr>
              <a:xfrm>
                <a:off x="2483768" y="4463401"/>
                <a:ext cx="139641" cy="45719"/>
              </a:xfrm>
              <a:prstGeom prst="roundRect">
                <a:avLst/>
              </a:prstGeom>
              <a:solidFill>
                <a:schemeClr val="accent3"/>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sp>
            <p:nvSpPr>
              <p:cNvPr id="161" name="Arc 160"/>
              <p:cNvSpPr/>
              <p:nvPr/>
            </p:nvSpPr>
            <p:spPr>
              <a:xfrm>
                <a:off x="2642070" y="4408251"/>
                <a:ext cx="110250" cy="62293"/>
              </a:xfrm>
              <a:prstGeom prst="arc">
                <a:avLst/>
              </a:prstGeom>
              <a:ln w="19050" cap="flat">
                <a:solidFill>
                  <a:schemeClr val="accent3"/>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62" name="Rounded Rectangle 161"/>
              <p:cNvSpPr/>
              <p:nvPr/>
            </p:nvSpPr>
            <p:spPr>
              <a:xfrm>
                <a:off x="2601943" y="4578458"/>
                <a:ext cx="71275" cy="45719"/>
              </a:xfrm>
              <a:prstGeom prst="roundRect">
                <a:avLst/>
              </a:prstGeom>
              <a:solidFill>
                <a:schemeClr val="accent3"/>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sp>
            <p:nvSpPr>
              <p:cNvPr id="163" name="Rounded Rectangle 162"/>
              <p:cNvSpPr/>
              <p:nvPr/>
            </p:nvSpPr>
            <p:spPr>
              <a:xfrm>
                <a:off x="2740320" y="4436571"/>
                <a:ext cx="45719" cy="45719"/>
              </a:xfrm>
              <a:prstGeom prst="roundRect">
                <a:avLst/>
              </a:prstGeom>
              <a:solidFill>
                <a:schemeClr val="accent3"/>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grpSp>
        <p:sp>
          <p:nvSpPr>
            <p:cNvPr id="164" name="Flowchart: Manual Operation 163"/>
            <p:cNvSpPr/>
            <p:nvPr/>
          </p:nvSpPr>
          <p:spPr>
            <a:xfrm>
              <a:off x="4556418" y="4245398"/>
              <a:ext cx="145704" cy="133335"/>
            </a:xfrm>
            <a:prstGeom prst="flowChartManualOperation">
              <a:avLst/>
            </a:prstGeom>
            <a:solidFill>
              <a:schemeClr val="accent3"/>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cxnSp>
          <p:nvCxnSpPr>
            <p:cNvPr id="165" name="Straight Connector 164"/>
            <p:cNvCxnSpPr/>
            <p:nvPr/>
          </p:nvCxnSpPr>
          <p:spPr>
            <a:xfrm>
              <a:off x="4552011" y="4501397"/>
              <a:ext cx="141817" cy="1"/>
            </a:xfrm>
            <a:prstGeom prst="line">
              <a:avLst/>
            </a:prstGeom>
            <a:ln w="28575" cap="flat">
              <a:solidFill>
                <a:schemeClr val="accent3"/>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6" name="Straight Connector 165"/>
            <p:cNvCxnSpPr/>
            <p:nvPr/>
          </p:nvCxnSpPr>
          <p:spPr>
            <a:xfrm>
              <a:off x="4629270" y="4357381"/>
              <a:ext cx="1" cy="144016"/>
            </a:xfrm>
            <a:prstGeom prst="line">
              <a:avLst/>
            </a:prstGeom>
            <a:ln w="28575" cap="flat">
              <a:solidFill>
                <a:schemeClr val="accent3"/>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7" name="Freeform 166"/>
            <p:cNvSpPr/>
            <p:nvPr/>
          </p:nvSpPr>
          <p:spPr>
            <a:xfrm>
              <a:off x="4666464" y="4292835"/>
              <a:ext cx="177338" cy="171796"/>
            </a:xfrm>
            <a:custGeom>
              <a:avLst/>
              <a:gdLst>
                <a:gd name="connsiteX0" fmla="*/ 0 w 177338"/>
                <a:gd name="connsiteY0" fmla="*/ 0 h 171796"/>
                <a:gd name="connsiteX1" fmla="*/ 94211 w 177338"/>
                <a:gd name="connsiteY1" fmla="*/ 33251 h 171796"/>
                <a:gd name="connsiteX2" fmla="*/ 55418 w 177338"/>
                <a:gd name="connsiteY2" fmla="*/ 121920 h 171796"/>
                <a:gd name="connsiteX3" fmla="*/ 105294 w 177338"/>
                <a:gd name="connsiteY3" fmla="*/ 171796 h 171796"/>
                <a:gd name="connsiteX4" fmla="*/ 177338 w 177338"/>
                <a:gd name="connsiteY4" fmla="*/ 121920 h 171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338" h="171796">
                  <a:moveTo>
                    <a:pt x="0" y="0"/>
                  </a:moveTo>
                  <a:cubicBezTo>
                    <a:pt x="42487" y="6465"/>
                    <a:pt x="84975" y="12931"/>
                    <a:pt x="94211" y="33251"/>
                  </a:cubicBezTo>
                  <a:cubicBezTo>
                    <a:pt x="103447" y="53571"/>
                    <a:pt x="53571" y="98829"/>
                    <a:pt x="55418" y="121920"/>
                  </a:cubicBezTo>
                  <a:cubicBezTo>
                    <a:pt x="57265" y="145011"/>
                    <a:pt x="84974" y="171796"/>
                    <a:pt x="105294" y="171796"/>
                  </a:cubicBezTo>
                  <a:cubicBezTo>
                    <a:pt x="125614" y="171796"/>
                    <a:pt x="151476" y="146858"/>
                    <a:pt x="177338" y="121920"/>
                  </a:cubicBezTo>
                </a:path>
              </a:pathLst>
            </a:custGeom>
            <a:noFill/>
            <a:ln w="12700" cap="flat">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68" name="Group 167"/>
            <p:cNvGrpSpPr/>
            <p:nvPr/>
          </p:nvGrpSpPr>
          <p:grpSpPr>
            <a:xfrm>
              <a:off x="4831351" y="4398147"/>
              <a:ext cx="81119" cy="45719"/>
              <a:chOff x="3635896" y="4568934"/>
              <a:chExt cx="81119" cy="45719"/>
            </a:xfrm>
          </p:grpSpPr>
          <p:sp>
            <p:nvSpPr>
              <p:cNvPr id="169" name="Flowchart: Delay 168"/>
              <p:cNvSpPr/>
              <p:nvPr/>
            </p:nvSpPr>
            <p:spPr>
              <a:xfrm flipH="1">
                <a:off x="3635896" y="4568934"/>
                <a:ext cx="54639" cy="45719"/>
              </a:xfrm>
              <a:prstGeom prst="flowChartDelay">
                <a:avLst/>
              </a:prstGeom>
              <a:solidFill>
                <a:schemeClr val="accent3"/>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cxnSp>
            <p:nvCxnSpPr>
              <p:cNvPr id="170" name="Straight Connector 169"/>
              <p:cNvCxnSpPr/>
              <p:nvPr/>
            </p:nvCxnSpPr>
            <p:spPr>
              <a:xfrm>
                <a:off x="3688446" y="4600465"/>
                <a:ext cx="28569" cy="0"/>
              </a:xfrm>
              <a:prstGeom prst="line">
                <a:avLst/>
              </a:prstGeom>
              <a:ln w="12700" cap="flat">
                <a:solidFill>
                  <a:schemeClr val="accent3"/>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3688446" y="4581128"/>
                <a:ext cx="28569" cy="0"/>
              </a:xfrm>
              <a:prstGeom prst="line">
                <a:avLst/>
              </a:prstGeom>
              <a:ln w="12700" cap="flat">
                <a:solidFill>
                  <a:schemeClr val="accent3"/>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72" name="Lightning Bolt 171"/>
            <p:cNvSpPr/>
            <p:nvPr/>
          </p:nvSpPr>
          <p:spPr>
            <a:xfrm>
              <a:off x="4600377" y="4257766"/>
              <a:ext cx="58097" cy="110221"/>
            </a:xfrm>
            <a:prstGeom prst="lightningBolt">
              <a:avLst/>
            </a:prstGeom>
            <a:solidFill>
              <a:schemeClr val="bg1"/>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pic>
          <p:nvPicPr>
            <p:cNvPr id="179" name="Picture 22" descr="http://40.media.tumblr.com/tumblr_mbn8akJO7M1r45v2mo1_r3_500.png"/>
            <p:cNvPicPr>
              <a:picLocks noChangeAspect="1" noChangeArrowheads="1"/>
            </p:cNvPicPr>
            <p:nvPr/>
          </p:nvPicPr>
          <p:blipFill>
            <a:blip r:embed="rId6"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597021" y="3951398"/>
              <a:ext cx="161309" cy="342725"/>
            </a:xfrm>
            <a:prstGeom prst="rect">
              <a:avLst/>
            </a:prstGeom>
            <a:noFill/>
            <a:extLst>
              <a:ext uri="{909E8E84-426E-40DD-AFC4-6F175D3DCCD1}">
                <a14:hiddenFill xmlns:a14="http://schemas.microsoft.com/office/drawing/2010/main">
                  <a:solidFill>
                    <a:srgbClr val="FFFFFF"/>
                  </a:solidFill>
                </a14:hiddenFill>
              </a:ext>
            </a:extLst>
          </p:spPr>
        </p:pic>
        <p:pic>
          <p:nvPicPr>
            <p:cNvPr id="180" name="Picture 26" descr="http://citywheels.ch/wp-content/uploads/segway-transparent2.png"/>
            <p:cNvPicPr>
              <a:picLocks noChangeAspect="1" noChangeArrowheads="1"/>
            </p:cNvPicPr>
            <p:nvPr/>
          </p:nvPicPr>
          <p:blipFill>
            <a:blip r:embed="rId7"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795145" y="4025298"/>
              <a:ext cx="185186" cy="286140"/>
            </a:xfrm>
            <a:prstGeom prst="rect">
              <a:avLst/>
            </a:prstGeom>
            <a:noFill/>
            <a:extLst>
              <a:ext uri="{909E8E84-426E-40DD-AFC4-6F175D3DCCD1}">
                <a14:hiddenFill xmlns:a14="http://schemas.microsoft.com/office/drawing/2010/main">
                  <a:solidFill>
                    <a:srgbClr val="FFFFFF"/>
                  </a:solidFill>
                </a14:hiddenFill>
              </a:ext>
            </a:extLst>
          </p:spPr>
        </p:pic>
        <p:pic>
          <p:nvPicPr>
            <p:cNvPr id="181" name="Picture 22" descr="http://40.media.tumblr.com/tumblr_mbn8akJO7M1r45v2mo1_r3_500.png"/>
            <p:cNvPicPr>
              <a:picLocks noChangeAspect="1" noChangeArrowheads="1"/>
            </p:cNvPicPr>
            <p:nvPr/>
          </p:nvPicPr>
          <p:blipFill>
            <a:blip r:embed="rId6"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400799" y="3951398"/>
              <a:ext cx="161309" cy="342725"/>
            </a:xfrm>
            <a:prstGeom prst="rect">
              <a:avLst/>
            </a:prstGeom>
            <a:noFill/>
            <a:extLst>
              <a:ext uri="{909E8E84-426E-40DD-AFC4-6F175D3DCCD1}">
                <a14:hiddenFill xmlns:a14="http://schemas.microsoft.com/office/drawing/2010/main">
                  <a:solidFill>
                    <a:srgbClr val="FFFFFF"/>
                  </a:solidFill>
                </a14:hiddenFill>
              </a:ext>
            </a:extLst>
          </p:spPr>
        </p:pic>
        <p:pic>
          <p:nvPicPr>
            <p:cNvPr id="182" name="Picture 26" descr="http://citywheels.ch/wp-content/uploads/segway-transparent2.png"/>
            <p:cNvPicPr>
              <a:picLocks noChangeAspect="1" noChangeArrowheads="1"/>
            </p:cNvPicPr>
            <p:nvPr/>
          </p:nvPicPr>
          <p:blipFill>
            <a:blip r:embed="rId7"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598923" y="4025298"/>
              <a:ext cx="185186" cy="286140"/>
            </a:xfrm>
            <a:prstGeom prst="rect">
              <a:avLst/>
            </a:prstGeom>
            <a:noFill/>
            <a:extLst>
              <a:ext uri="{909E8E84-426E-40DD-AFC4-6F175D3DCCD1}">
                <a14:hiddenFill xmlns:a14="http://schemas.microsoft.com/office/drawing/2010/main">
                  <a:solidFill>
                    <a:srgbClr val="FFFFFF"/>
                  </a:solidFill>
                </a14:hiddenFill>
              </a:ext>
            </a:extLst>
          </p:spPr>
        </p:pic>
      </p:grpSp>
      <p:sp>
        <p:nvSpPr>
          <p:cNvPr id="183" name="TextBox 182"/>
          <p:cNvSpPr txBox="1"/>
          <p:nvPr/>
        </p:nvSpPr>
        <p:spPr>
          <a:xfrm>
            <a:off x="334433" y="5463251"/>
            <a:ext cx="11557530" cy="698699"/>
          </a:xfrm>
          <a:prstGeom prst="rect">
            <a:avLst/>
          </a:prstGeom>
          <a:solidFill>
            <a:schemeClr val="bg2"/>
          </a:solidFill>
        </p:spPr>
        <p:txBody>
          <a:bodyPr vert="horz" wrap="square" lIns="252476" tIns="76200" rIns="252476" bIns="76200" rtlCol="0" anchor="ctr" anchorCtr="0">
            <a:noAutofit/>
          </a:bodyPr>
          <a:lstStyle>
            <a:defPPr>
              <a:defRPr lang="en-US"/>
            </a:defPPr>
            <a:lvl1pPr>
              <a:lnSpc>
                <a:spcPct val="90000"/>
              </a:lnSpc>
              <a:spcBef>
                <a:spcPct val="0"/>
              </a:spcBef>
              <a:spcAft>
                <a:spcPct val="0"/>
              </a:spcAft>
              <a:buSzPct val="80000"/>
              <a:defRPr b="1">
                <a:solidFill>
                  <a:schemeClr val="bg1"/>
                </a:solidFill>
                <a:latin typeface="Arial" panose="020B0604020202020204" pitchFamily="34" charset="0"/>
                <a:cs typeface="Arial" panose="020B0604020202020204" pitchFamily="34" charset="0"/>
              </a:defRPr>
            </a:lvl1pPr>
          </a:lstStyle>
          <a:p>
            <a:pPr>
              <a:buClr>
                <a:schemeClr val="bg2"/>
              </a:buClr>
            </a:pPr>
            <a:r>
              <a:rPr lang="en-US" dirty="0"/>
              <a:t>Center of customer interaction will be the smartphone – Providing transparency about information of different transport possibilities in real-time</a:t>
            </a:r>
          </a:p>
        </p:txBody>
      </p:sp>
      <p:sp>
        <p:nvSpPr>
          <p:cNvPr id="2" name="TextBox 1"/>
          <p:cNvSpPr txBox="1"/>
          <p:nvPr/>
        </p:nvSpPr>
        <p:spPr>
          <a:xfrm>
            <a:off x="284263" y="6528376"/>
            <a:ext cx="2135251" cy="216982"/>
          </a:xfrm>
          <a:prstGeom prst="rect">
            <a:avLst/>
          </a:prstGeom>
          <a:noFill/>
        </p:spPr>
        <p:txBody>
          <a:bodyPr wrap="square" rtlCol="0">
            <a:spAutoFit/>
          </a:bodyPr>
          <a:lstStyle/>
          <a:p>
            <a:pPr>
              <a:lnSpc>
                <a:spcPct val="90000"/>
              </a:lnSpc>
              <a:spcBef>
                <a:spcPts val="200"/>
              </a:spcBef>
              <a:buSzPct val="80000"/>
            </a:pPr>
            <a:r>
              <a:rPr lang="nb-NO" sz="900" dirty="0" smtClean="0">
                <a:solidFill>
                  <a:schemeClr val="bg1"/>
                </a:solidFill>
              </a:rPr>
              <a:t>Source: A.T. </a:t>
            </a:r>
            <a:r>
              <a:rPr lang="nb-NO" sz="900" dirty="0" err="1" smtClean="0">
                <a:solidFill>
                  <a:schemeClr val="bg1"/>
                </a:solidFill>
              </a:rPr>
              <a:t>Kearney</a:t>
            </a:r>
            <a:endParaRPr lang="nb-NO" sz="900" dirty="0" smtClean="0">
              <a:solidFill>
                <a:schemeClr val="bg1"/>
              </a:solidFill>
            </a:endParaRPr>
          </a:p>
        </p:txBody>
      </p:sp>
    </p:spTree>
    <p:extLst>
      <p:ext uri="{BB962C8B-B14F-4D97-AF65-F5344CB8AC3E}">
        <p14:creationId xmlns:p14="http://schemas.microsoft.com/office/powerpoint/2010/main" val="3427275794"/>
      </p:ext>
    </p:extLst>
  </p:cSld>
  <p:clrMapOvr>
    <a:masterClrMapping/>
  </p:clrMapOvr>
  <p:transition spd="slow"/>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14428962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00" name="think-cell Slide" r:id="rId5" imgW="493" imgH="493" progId="TCLayout.ActiveDocument.1">
                  <p:embed/>
                </p:oleObj>
              </mc:Choice>
              <mc:Fallback>
                <p:oleObj name="think-cell Slide" r:id="rId5" imgW="493" imgH="493"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334434" y="416762"/>
            <a:ext cx="11523133" cy="635751"/>
          </a:xfrm>
        </p:spPr>
        <p:txBody>
          <a:bodyPr/>
          <a:lstStyle/>
          <a:p>
            <a:r>
              <a:rPr lang="en-US" noProof="0" dirty="0" smtClean="0"/>
              <a:t>Bertel O. Steen </a:t>
            </a:r>
            <a:r>
              <a:rPr lang="en-US" noProof="0" dirty="0" smtClean="0"/>
              <a:t>ensures import </a:t>
            </a:r>
            <a:r>
              <a:rPr lang="en-US" noProof="0" dirty="0" smtClean="0"/>
              <a:t>and logistics of </a:t>
            </a:r>
            <a:r>
              <a:rPr lang="en-US" noProof="0" dirty="0" err="1" smtClean="0"/>
              <a:t>Easymile</a:t>
            </a:r>
            <a:r>
              <a:rPr lang="en-US" noProof="0" dirty="0" smtClean="0"/>
              <a:t> in Norway and we have </a:t>
            </a:r>
            <a:r>
              <a:rPr lang="en-US" noProof="0" dirty="0" smtClean="0"/>
              <a:t>contributed to </a:t>
            </a:r>
            <a:r>
              <a:rPr lang="en-US" noProof="0" dirty="0" smtClean="0"/>
              <a:t>several demonstrations in 2016, and expect more to come in 2017</a:t>
            </a:r>
            <a:endParaRPr lang="en-US" noProof="0" dirty="0"/>
          </a:p>
        </p:txBody>
      </p:sp>
      <p:sp>
        <p:nvSpPr>
          <p:cNvPr id="3" name="Content Placeholder 2"/>
          <p:cNvSpPr>
            <a:spLocks noGrp="1"/>
          </p:cNvSpPr>
          <p:nvPr>
            <p:ph idx="1"/>
          </p:nvPr>
        </p:nvSpPr>
        <p:spPr>
          <a:xfrm>
            <a:off x="428263" y="1628775"/>
            <a:ext cx="5370653" cy="4248150"/>
          </a:xfrm>
        </p:spPr>
        <p:txBody>
          <a:bodyPr/>
          <a:lstStyle/>
          <a:p>
            <a:pPr marL="0" indent="0">
              <a:buNone/>
            </a:pPr>
            <a:r>
              <a:rPr lang="en-US" sz="1800" b="1" noProof="0" dirty="0" smtClean="0"/>
              <a:t>Our experience</a:t>
            </a:r>
          </a:p>
          <a:p>
            <a:r>
              <a:rPr lang="en-US" sz="1800" noProof="0" dirty="0" smtClean="0"/>
              <a:t>Bertel O. Steen has through 2016 ensured import and all logistics related to the autonomous electric bus EasyMile</a:t>
            </a:r>
          </a:p>
          <a:p>
            <a:r>
              <a:rPr lang="en-US" sz="1800" noProof="0" dirty="0" smtClean="0"/>
              <a:t>We have hosted the first event with media and key partners (Ruter, </a:t>
            </a:r>
            <a:r>
              <a:rPr lang="en-US" sz="1800" noProof="0" dirty="0" err="1" smtClean="0"/>
              <a:t>Flytoget</a:t>
            </a:r>
            <a:r>
              <a:rPr lang="en-US" sz="1800" noProof="0" dirty="0" smtClean="0"/>
              <a:t>, Telenor, NHO Transport and Acando) at our premises</a:t>
            </a:r>
          </a:p>
          <a:p>
            <a:r>
              <a:rPr lang="en-US" sz="1800" noProof="0" dirty="0" smtClean="0"/>
              <a:t>We are taking steps for also ensuring successful demonstrations and pilots of the bus in Norway in 2017</a:t>
            </a:r>
          </a:p>
          <a:p>
            <a:r>
              <a:rPr lang="en-US" sz="1800" noProof="0" dirty="0" smtClean="0"/>
              <a:t>Through the year we will build our capabilities and knowledge for how to ensure the best possible services for customers</a:t>
            </a:r>
          </a:p>
        </p:txBody>
      </p:sp>
      <p:pic>
        <p:nvPicPr>
          <p:cNvPr id="5" name="Picture 4"/>
          <p:cNvPicPr>
            <a:picLocks noChangeAspect="1"/>
          </p:cNvPicPr>
          <p:nvPr/>
        </p:nvPicPr>
        <p:blipFill rotWithShape="1">
          <a:blip r:embed="rId7"/>
          <a:srcRect r="14566"/>
          <a:stretch/>
        </p:blipFill>
        <p:spPr>
          <a:xfrm>
            <a:off x="6583002" y="2939791"/>
            <a:ext cx="2975754" cy="195706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6" name="Picture 5"/>
          <p:cNvPicPr>
            <a:picLocks noChangeAspect="1"/>
          </p:cNvPicPr>
          <p:nvPr/>
        </p:nvPicPr>
        <p:blipFill rotWithShape="1">
          <a:blip r:embed="rId8" cstate="print">
            <a:extLst>
              <a:ext uri="{BEBA8EAE-BF5A-486C-A8C5-ECC9F3942E4B}">
                <a14:imgProps xmlns:a14="http://schemas.microsoft.com/office/drawing/2010/main">
                  <a14:imgLayer r:embed="rId9">
                    <a14:imgEffect>
                      <a14:brightnessContrast contrast="-40000"/>
                    </a14:imgEffect>
                  </a14:imgLayer>
                </a14:imgProps>
              </a:ext>
              <a:ext uri="{28A0092B-C50C-407E-A947-70E740481C1C}">
                <a14:useLocalDpi xmlns:a14="http://schemas.microsoft.com/office/drawing/2010/main" val="0"/>
              </a:ext>
            </a:extLst>
          </a:blip>
          <a:srcRect l="28701" r="21356"/>
          <a:stretch/>
        </p:blipFill>
        <p:spPr>
          <a:xfrm rot="5400000">
            <a:off x="9388854" y="3639014"/>
            <a:ext cx="1950441" cy="292897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4" name="Picture 2" descr="Bilderesultat for bertel o steen kongsberg"/>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t="5310" r="12370"/>
          <a:stretch/>
        </p:blipFill>
        <p:spPr bwMode="auto">
          <a:xfrm>
            <a:off x="8545698" y="1467138"/>
            <a:ext cx="3040710" cy="219046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Tree>
    <p:extLst>
      <p:ext uri="{BB962C8B-B14F-4D97-AF65-F5344CB8AC3E}">
        <p14:creationId xmlns:p14="http://schemas.microsoft.com/office/powerpoint/2010/main" val="4163126578"/>
      </p:ext>
    </p:extLst>
  </p:cSld>
  <p:clrMapOvr>
    <a:masterClrMapping/>
  </p:clrMapOvr>
  <p:transition spd="slow"/>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4434" y="416762"/>
            <a:ext cx="11523133" cy="635751"/>
          </a:xfrm>
        </p:spPr>
        <p:txBody>
          <a:bodyPr/>
          <a:lstStyle/>
          <a:p>
            <a:r>
              <a:rPr lang="en-US" noProof="0" dirty="0" smtClean="0"/>
              <a:t>For autonomous vehicles to become a reality in Norway there are several obstacles that need to </a:t>
            </a:r>
            <a:r>
              <a:rPr lang="en-US" noProof="0" dirty="0" smtClean="0"/>
              <a:t>be </a:t>
            </a:r>
            <a:r>
              <a:rPr lang="en-US" noProof="0" dirty="0" err="1" smtClean="0"/>
              <a:t>adressed</a:t>
            </a:r>
            <a:endParaRPr lang="en-US" noProof="0" dirty="0"/>
          </a:p>
        </p:txBody>
      </p:sp>
      <p:sp>
        <p:nvSpPr>
          <p:cNvPr id="6" name="Freeform 5"/>
          <p:cNvSpPr/>
          <p:nvPr/>
        </p:nvSpPr>
        <p:spPr>
          <a:xfrm>
            <a:off x="343003" y="1647398"/>
            <a:ext cx="2985840" cy="780125"/>
          </a:xfrm>
          <a:custGeom>
            <a:avLst/>
            <a:gdLst>
              <a:gd name="connsiteX0" fmla="*/ 2743200 w 2743200"/>
              <a:gd name="connsiteY0" fmla="*/ 0 h 773084"/>
              <a:gd name="connsiteX1" fmla="*/ 0 w 2743200"/>
              <a:gd name="connsiteY1" fmla="*/ 399011 h 773084"/>
              <a:gd name="connsiteX2" fmla="*/ 964276 w 2743200"/>
              <a:gd name="connsiteY2" fmla="*/ 689957 h 773084"/>
              <a:gd name="connsiteX3" fmla="*/ 2743200 w 2743200"/>
              <a:gd name="connsiteY3" fmla="*/ 773084 h 773084"/>
              <a:gd name="connsiteX0" fmla="*/ 2743200 w 2743200"/>
              <a:gd name="connsiteY0" fmla="*/ 0 h 773084"/>
              <a:gd name="connsiteX1" fmla="*/ 0 w 2743200"/>
              <a:gd name="connsiteY1" fmla="*/ 399011 h 773084"/>
              <a:gd name="connsiteX2" fmla="*/ 1005416 w 2743200"/>
              <a:gd name="connsiteY2" fmla="*/ 704115 h 773084"/>
              <a:gd name="connsiteX3" fmla="*/ 2743200 w 2743200"/>
              <a:gd name="connsiteY3" fmla="*/ 773084 h 773084"/>
              <a:gd name="connsiteX0" fmla="*/ 2740779 w 2740779"/>
              <a:gd name="connsiteY0" fmla="*/ 0 h 773084"/>
              <a:gd name="connsiteX1" fmla="*/ 0 w 2740779"/>
              <a:gd name="connsiteY1" fmla="*/ 401370 h 773084"/>
              <a:gd name="connsiteX2" fmla="*/ 1002995 w 2740779"/>
              <a:gd name="connsiteY2" fmla="*/ 704115 h 773084"/>
              <a:gd name="connsiteX3" fmla="*/ 2740779 w 2740779"/>
              <a:gd name="connsiteY3" fmla="*/ 773084 h 773084"/>
            </a:gdLst>
            <a:ahLst/>
            <a:cxnLst>
              <a:cxn ang="0">
                <a:pos x="connsiteX0" y="connsiteY0"/>
              </a:cxn>
              <a:cxn ang="0">
                <a:pos x="connsiteX1" y="connsiteY1"/>
              </a:cxn>
              <a:cxn ang="0">
                <a:pos x="connsiteX2" y="connsiteY2"/>
              </a:cxn>
              <a:cxn ang="0">
                <a:pos x="connsiteX3" y="connsiteY3"/>
              </a:cxn>
            </a:cxnLst>
            <a:rect l="l" t="t" r="r" b="b"/>
            <a:pathLst>
              <a:path w="2740779" h="773084">
                <a:moveTo>
                  <a:pt x="2740779" y="0"/>
                </a:moveTo>
                <a:lnTo>
                  <a:pt x="0" y="401370"/>
                </a:lnTo>
                <a:lnTo>
                  <a:pt x="1002995" y="704115"/>
                </a:lnTo>
                <a:lnTo>
                  <a:pt x="2740779" y="773084"/>
                </a:lnTo>
              </a:path>
            </a:pathLst>
          </a:custGeom>
          <a:solidFill>
            <a:schemeClr val="tx2">
              <a:lumMod val="20000"/>
              <a:lumOff val="8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90000"/>
              </a:lnSpc>
            </a:pPr>
            <a:endParaRPr lang="en-US" dirty="0"/>
          </a:p>
        </p:txBody>
      </p:sp>
      <p:sp>
        <p:nvSpPr>
          <p:cNvPr id="7" name="Freeform 6"/>
          <p:cNvSpPr/>
          <p:nvPr/>
        </p:nvSpPr>
        <p:spPr>
          <a:xfrm>
            <a:off x="1367397" y="2404845"/>
            <a:ext cx="1991451" cy="888958"/>
          </a:xfrm>
          <a:custGeom>
            <a:avLst/>
            <a:gdLst>
              <a:gd name="connsiteX0" fmla="*/ 1704110 w 1712422"/>
              <a:gd name="connsiteY0" fmla="*/ 108066 h 847898"/>
              <a:gd name="connsiteX1" fmla="*/ 0 w 1712422"/>
              <a:gd name="connsiteY1" fmla="*/ 0 h 847898"/>
              <a:gd name="connsiteX2" fmla="*/ 581891 w 1712422"/>
              <a:gd name="connsiteY2" fmla="*/ 773084 h 847898"/>
              <a:gd name="connsiteX3" fmla="*/ 1712422 w 1712422"/>
              <a:gd name="connsiteY3" fmla="*/ 847898 h 847898"/>
              <a:gd name="connsiteX0" fmla="*/ 1704110 w 1719800"/>
              <a:gd name="connsiteY0" fmla="*/ 108066 h 862057"/>
              <a:gd name="connsiteX1" fmla="*/ 0 w 1719800"/>
              <a:gd name="connsiteY1" fmla="*/ 0 h 862057"/>
              <a:gd name="connsiteX2" fmla="*/ 581891 w 1719800"/>
              <a:gd name="connsiteY2" fmla="*/ 773084 h 862057"/>
              <a:gd name="connsiteX3" fmla="*/ 1719800 w 1719800"/>
              <a:gd name="connsiteY3" fmla="*/ 862057 h 862057"/>
              <a:gd name="connsiteX0" fmla="*/ 1704110 w 1722259"/>
              <a:gd name="connsiteY0" fmla="*/ 108066 h 866776"/>
              <a:gd name="connsiteX1" fmla="*/ 0 w 1722259"/>
              <a:gd name="connsiteY1" fmla="*/ 0 h 866776"/>
              <a:gd name="connsiteX2" fmla="*/ 581891 w 1722259"/>
              <a:gd name="connsiteY2" fmla="*/ 773084 h 866776"/>
              <a:gd name="connsiteX3" fmla="*/ 1722259 w 1722259"/>
              <a:gd name="connsiteY3" fmla="*/ 866776 h 866776"/>
              <a:gd name="connsiteX0" fmla="*/ 1704110 w 1722259"/>
              <a:gd name="connsiteY0" fmla="*/ 108066 h 866776"/>
              <a:gd name="connsiteX1" fmla="*/ 0 w 1722259"/>
              <a:gd name="connsiteY1" fmla="*/ 0 h 866776"/>
              <a:gd name="connsiteX2" fmla="*/ 601564 w 1722259"/>
              <a:gd name="connsiteY2" fmla="*/ 782523 h 866776"/>
              <a:gd name="connsiteX3" fmla="*/ 1722259 w 1722259"/>
              <a:gd name="connsiteY3" fmla="*/ 866776 h 866776"/>
              <a:gd name="connsiteX0" fmla="*/ 1718864 w 1737013"/>
              <a:gd name="connsiteY0" fmla="*/ 122225 h 880935"/>
              <a:gd name="connsiteX1" fmla="*/ 0 w 1737013"/>
              <a:gd name="connsiteY1" fmla="*/ 0 h 880935"/>
              <a:gd name="connsiteX2" fmla="*/ 616318 w 1737013"/>
              <a:gd name="connsiteY2" fmla="*/ 796682 h 880935"/>
              <a:gd name="connsiteX3" fmla="*/ 1737013 w 1737013"/>
              <a:gd name="connsiteY3" fmla="*/ 880935 h 880935"/>
            </a:gdLst>
            <a:ahLst/>
            <a:cxnLst>
              <a:cxn ang="0">
                <a:pos x="connsiteX0" y="connsiteY0"/>
              </a:cxn>
              <a:cxn ang="0">
                <a:pos x="connsiteX1" y="connsiteY1"/>
              </a:cxn>
              <a:cxn ang="0">
                <a:pos x="connsiteX2" y="connsiteY2"/>
              </a:cxn>
              <a:cxn ang="0">
                <a:pos x="connsiteX3" y="connsiteY3"/>
              </a:cxn>
            </a:cxnLst>
            <a:rect l="l" t="t" r="r" b="b"/>
            <a:pathLst>
              <a:path w="1737013" h="880935">
                <a:moveTo>
                  <a:pt x="1718864" y="122225"/>
                </a:moveTo>
                <a:lnTo>
                  <a:pt x="0" y="0"/>
                </a:lnTo>
                <a:lnTo>
                  <a:pt x="616318" y="796682"/>
                </a:lnTo>
                <a:lnTo>
                  <a:pt x="1737013" y="880935"/>
                </a:lnTo>
              </a:path>
            </a:pathLst>
          </a:custGeom>
          <a:solidFill>
            <a:schemeClr val="accent1">
              <a:lumMod val="20000"/>
              <a:lumOff val="8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90000"/>
              </a:lnSpc>
            </a:pPr>
            <a:endParaRPr lang="en-US" dirty="0"/>
          </a:p>
        </p:txBody>
      </p:sp>
      <p:sp>
        <p:nvSpPr>
          <p:cNvPr id="8" name="Freeform 7"/>
          <p:cNvSpPr/>
          <p:nvPr/>
        </p:nvSpPr>
        <p:spPr>
          <a:xfrm>
            <a:off x="1997996" y="3271573"/>
            <a:ext cx="1348535" cy="1009650"/>
          </a:xfrm>
          <a:custGeom>
            <a:avLst/>
            <a:gdLst>
              <a:gd name="connsiteX0" fmla="*/ 1097280 w 1097280"/>
              <a:gd name="connsiteY0" fmla="*/ 83128 h 939338"/>
              <a:gd name="connsiteX1" fmla="*/ 0 w 1097280"/>
              <a:gd name="connsiteY1" fmla="*/ 0 h 939338"/>
              <a:gd name="connsiteX2" fmla="*/ 0 w 1097280"/>
              <a:gd name="connsiteY2" fmla="*/ 939338 h 939338"/>
              <a:gd name="connsiteX3" fmla="*/ 1088968 w 1097280"/>
              <a:gd name="connsiteY3" fmla="*/ 831273 h 939338"/>
              <a:gd name="connsiteX0" fmla="*/ 1105085 w 1105085"/>
              <a:gd name="connsiteY0" fmla="*/ 100851 h 939338"/>
              <a:gd name="connsiteX1" fmla="*/ 0 w 1105085"/>
              <a:gd name="connsiteY1" fmla="*/ 0 h 939338"/>
              <a:gd name="connsiteX2" fmla="*/ 0 w 1105085"/>
              <a:gd name="connsiteY2" fmla="*/ 939338 h 939338"/>
              <a:gd name="connsiteX3" fmla="*/ 1088968 w 1105085"/>
              <a:gd name="connsiteY3" fmla="*/ 831273 h 939338"/>
            </a:gdLst>
            <a:ahLst/>
            <a:cxnLst>
              <a:cxn ang="0">
                <a:pos x="connsiteX0" y="connsiteY0"/>
              </a:cxn>
              <a:cxn ang="0">
                <a:pos x="connsiteX1" y="connsiteY1"/>
              </a:cxn>
              <a:cxn ang="0">
                <a:pos x="connsiteX2" y="connsiteY2"/>
              </a:cxn>
              <a:cxn ang="0">
                <a:pos x="connsiteX3" y="connsiteY3"/>
              </a:cxn>
            </a:cxnLst>
            <a:rect l="l" t="t" r="r" b="b"/>
            <a:pathLst>
              <a:path w="1105085" h="939338">
                <a:moveTo>
                  <a:pt x="1105085" y="100851"/>
                </a:moveTo>
                <a:lnTo>
                  <a:pt x="0" y="0"/>
                </a:lnTo>
                <a:lnTo>
                  <a:pt x="0" y="939338"/>
                </a:lnTo>
                <a:lnTo>
                  <a:pt x="1088968" y="831273"/>
                </a:lnTo>
              </a:path>
            </a:pathLst>
          </a:custGeom>
          <a:solidFill>
            <a:schemeClr val="bg2">
              <a:lumMod val="40000"/>
              <a:lumOff val="6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90000"/>
              </a:lnSpc>
            </a:pPr>
            <a:endParaRPr lang="en-US" dirty="0"/>
          </a:p>
        </p:txBody>
      </p:sp>
      <p:sp>
        <p:nvSpPr>
          <p:cNvPr id="9" name="Freeform 8"/>
          <p:cNvSpPr/>
          <p:nvPr/>
        </p:nvSpPr>
        <p:spPr>
          <a:xfrm flipV="1">
            <a:off x="1374540" y="4266202"/>
            <a:ext cx="2018662" cy="879432"/>
          </a:xfrm>
          <a:custGeom>
            <a:avLst/>
            <a:gdLst>
              <a:gd name="connsiteX0" fmla="*/ 1704110 w 1712422"/>
              <a:gd name="connsiteY0" fmla="*/ 108066 h 847898"/>
              <a:gd name="connsiteX1" fmla="*/ 0 w 1712422"/>
              <a:gd name="connsiteY1" fmla="*/ 0 h 847898"/>
              <a:gd name="connsiteX2" fmla="*/ 581891 w 1712422"/>
              <a:gd name="connsiteY2" fmla="*/ 773084 h 847898"/>
              <a:gd name="connsiteX3" fmla="*/ 1712422 w 1712422"/>
              <a:gd name="connsiteY3" fmla="*/ 847898 h 847898"/>
              <a:gd name="connsiteX0" fmla="*/ 1704110 w 1712422"/>
              <a:gd name="connsiteY0" fmla="*/ 108066 h 847898"/>
              <a:gd name="connsiteX1" fmla="*/ 0 w 1712422"/>
              <a:gd name="connsiteY1" fmla="*/ 0 h 847898"/>
              <a:gd name="connsiteX2" fmla="*/ 611401 w 1712422"/>
              <a:gd name="connsiteY2" fmla="*/ 770725 h 847898"/>
              <a:gd name="connsiteX3" fmla="*/ 1712422 w 1712422"/>
              <a:gd name="connsiteY3" fmla="*/ 847898 h 847898"/>
              <a:gd name="connsiteX0" fmla="*/ 1711488 w 1719800"/>
              <a:gd name="connsiteY0" fmla="*/ 131663 h 871495"/>
              <a:gd name="connsiteX1" fmla="*/ 0 w 1719800"/>
              <a:gd name="connsiteY1" fmla="*/ 0 h 871495"/>
              <a:gd name="connsiteX2" fmla="*/ 618779 w 1719800"/>
              <a:gd name="connsiteY2" fmla="*/ 794322 h 871495"/>
              <a:gd name="connsiteX3" fmla="*/ 1719800 w 1719800"/>
              <a:gd name="connsiteY3" fmla="*/ 871495 h 871495"/>
              <a:gd name="connsiteX0" fmla="*/ 1713947 w 1719800"/>
              <a:gd name="connsiteY0" fmla="*/ 117505 h 871495"/>
              <a:gd name="connsiteX1" fmla="*/ 0 w 1719800"/>
              <a:gd name="connsiteY1" fmla="*/ 0 h 871495"/>
              <a:gd name="connsiteX2" fmla="*/ 618779 w 1719800"/>
              <a:gd name="connsiteY2" fmla="*/ 794322 h 871495"/>
              <a:gd name="connsiteX3" fmla="*/ 1719800 w 1719800"/>
              <a:gd name="connsiteY3" fmla="*/ 871495 h 871495"/>
            </a:gdLst>
            <a:ahLst/>
            <a:cxnLst>
              <a:cxn ang="0">
                <a:pos x="connsiteX0" y="connsiteY0"/>
              </a:cxn>
              <a:cxn ang="0">
                <a:pos x="connsiteX1" y="connsiteY1"/>
              </a:cxn>
              <a:cxn ang="0">
                <a:pos x="connsiteX2" y="connsiteY2"/>
              </a:cxn>
              <a:cxn ang="0">
                <a:pos x="connsiteX3" y="connsiteY3"/>
              </a:cxn>
            </a:cxnLst>
            <a:rect l="l" t="t" r="r" b="b"/>
            <a:pathLst>
              <a:path w="1719800" h="871495">
                <a:moveTo>
                  <a:pt x="1713947" y="117505"/>
                </a:moveTo>
                <a:lnTo>
                  <a:pt x="0" y="0"/>
                </a:lnTo>
                <a:lnTo>
                  <a:pt x="618779" y="794322"/>
                </a:lnTo>
                <a:lnTo>
                  <a:pt x="1719800" y="871495"/>
                </a:lnTo>
              </a:path>
            </a:pathLst>
          </a:custGeom>
          <a:solidFill>
            <a:schemeClr val="accent3">
              <a:lumMod val="20000"/>
              <a:lumOff val="8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90000"/>
              </a:lnSpc>
            </a:pPr>
            <a:endParaRPr lang="en-US" dirty="0"/>
          </a:p>
        </p:txBody>
      </p:sp>
      <p:sp>
        <p:nvSpPr>
          <p:cNvPr id="10" name="Freeform 9"/>
          <p:cNvSpPr/>
          <p:nvPr/>
        </p:nvSpPr>
        <p:spPr>
          <a:xfrm flipV="1">
            <a:off x="340621" y="5122858"/>
            <a:ext cx="2996386" cy="775363"/>
          </a:xfrm>
          <a:custGeom>
            <a:avLst/>
            <a:gdLst>
              <a:gd name="connsiteX0" fmla="*/ 2743200 w 2743200"/>
              <a:gd name="connsiteY0" fmla="*/ 0 h 773084"/>
              <a:gd name="connsiteX1" fmla="*/ 0 w 2743200"/>
              <a:gd name="connsiteY1" fmla="*/ 399011 h 773084"/>
              <a:gd name="connsiteX2" fmla="*/ 964276 w 2743200"/>
              <a:gd name="connsiteY2" fmla="*/ 689957 h 773084"/>
              <a:gd name="connsiteX3" fmla="*/ 2743200 w 2743200"/>
              <a:gd name="connsiteY3" fmla="*/ 773084 h 773084"/>
              <a:gd name="connsiteX0" fmla="*/ 2743200 w 2743200"/>
              <a:gd name="connsiteY0" fmla="*/ 0 h 773084"/>
              <a:gd name="connsiteX1" fmla="*/ 0 w 2743200"/>
              <a:gd name="connsiteY1" fmla="*/ 399011 h 773084"/>
              <a:gd name="connsiteX2" fmla="*/ 1000576 w 2743200"/>
              <a:gd name="connsiteY2" fmla="*/ 701756 h 773084"/>
              <a:gd name="connsiteX3" fmla="*/ 2743200 w 2743200"/>
              <a:gd name="connsiteY3" fmla="*/ 773084 h 773084"/>
              <a:gd name="connsiteX0" fmla="*/ 2745620 w 2745620"/>
              <a:gd name="connsiteY0" fmla="*/ 0 h 763645"/>
              <a:gd name="connsiteX1" fmla="*/ 0 w 2745620"/>
              <a:gd name="connsiteY1" fmla="*/ 389572 h 763645"/>
              <a:gd name="connsiteX2" fmla="*/ 1000576 w 2745620"/>
              <a:gd name="connsiteY2" fmla="*/ 692317 h 763645"/>
              <a:gd name="connsiteX3" fmla="*/ 2743200 w 2745620"/>
              <a:gd name="connsiteY3" fmla="*/ 763645 h 763645"/>
              <a:gd name="connsiteX0" fmla="*/ 2750460 w 2750460"/>
              <a:gd name="connsiteY0" fmla="*/ 0 h 768365"/>
              <a:gd name="connsiteX1" fmla="*/ 0 w 2750460"/>
              <a:gd name="connsiteY1" fmla="*/ 394292 h 768365"/>
              <a:gd name="connsiteX2" fmla="*/ 1000576 w 2750460"/>
              <a:gd name="connsiteY2" fmla="*/ 697037 h 768365"/>
              <a:gd name="connsiteX3" fmla="*/ 2743200 w 2750460"/>
              <a:gd name="connsiteY3" fmla="*/ 768365 h 768365"/>
            </a:gdLst>
            <a:ahLst/>
            <a:cxnLst>
              <a:cxn ang="0">
                <a:pos x="connsiteX0" y="connsiteY0"/>
              </a:cxn>
              <a:cxn ang="0">
                <a:pos x="connsiteX1" y="connsiteY1"/>
              </a:cxn>
              <a:cxn ang="0">
                <a:pos x="connsiteX2" y="connsiteY2"/>
              </a:cxn>
              <a:cxn ang="0">
                <a:pos x="connsiteX3" y="connsiteY3"/>
              </a:cxn>
            </a:cxnLst>
            <a:rect l="l" t="t" r="r" b="b"/>
            <a:pathLst>
              <a:path w="2750460" h="768365">
                <a:moveTo>
                  <a:pt x="2750460" y="0"/>
                </a:moveTo>
                <a:lnTo>
                  <a:pt x="0" y="394292"/>
                </a:lnTo>
                <a:lnTo>
                  <a:pt x="1000576" y="697037"/>
                </a:lnTo>
                <a:lnTo>
                  <a:pt x="2743200" y="768365"/>
                </a:lnTo>
              </a:path>
            </a:pathLst>
          </a:custGeom>
          <a:solidFill>
            <a:schemeClr val="accent2">
              <a:lumMod val="20000"/>
              <a:lumOff val="80000"/>
            </a:schemeClr>
          </a:solidFill>
          <a:ln w="6350" cap="flat">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90000"/>
              </a:lnSpc>
            </a:pPr>
            <a:endParaRPr lang="en-US" dirty="0"/>
          </a:p>
        </p:txBody>
      </p:sp>
      <p:sp>
        <p:nvSpPr>
          <p:cNvPr id="11" name="Freeform 31"/>
          <p:cNvSpPr>
            <a:spLocks/>
          </p:cNvSpPr>
          <p:nvPr/>
        </p:nvSpPr>
        <p:spPr bwMode="gray">
          <a:xfrm rot="16200000">
            <a:off x="343219" y="2032869"/>
            <a:ext cx="989910" cy="1007479"/>
          </a:xfrm>
          <a:custGeom>
            <a:avLst/>
            <a:gdLst/>
            <a:ahLst/>
            <a:cxnLst>
              <a:cxn ang="0">
                <a:pos x="637" y="925"/>
              </a:cxn>
              <a:cxn ang="0">
                <a:pos x="940" y="0"/>
              </a:cxn>
              <a:cxn ang="0">
                <a:pos x="152" y="0"/>
              </a:cxn>
              <a:cxn ang="0">
                <a:pos x="0" y="462"/>
              </a:cxn>
              <a:cxn ang="0">
                <a:pos x="637" y="925"/>
              </a:cxn>
            </a:cxnLst>
            <a:rect l="0" t="0" r="r" b="b"/>
            <a:pathLst>
              <a:path w="940" h="925">
                <a:moveTo>
                  <a:pt x="637" y="925"/>
                </a:moveTo>
                <a:cubicBezTo>
                  <a:pt x="834" y="657"/>
                  <a:pt x="940" y="333"/>
                  <a:pt x="940" y="0"/>
                </a:cubicBezTo>
                <a:lnTo>
                  <a:pt x="152" y="0"/>
                </a:lnTo>
                <a:cubicBezTo>
                  <a:pt x="152" y="166"/>
                  <a:pt x="99" y="328"/>
                  <a:pt x="0" y="462"/>
                </a:cubicBezTo>
                <a:lnTo>
                  <a:pt x="637" y="925"/>
                </a:lnTo>
                <a:close/>
              </a:path>
            </a:pathLst>
          </a:custGeom>
          <a:solidFill>
            <a:schemeClr val="tx2"/>
          </a:solidFill>
          <a:ln w="12700" cmpd="sng">
            <a:solidFill>
              <a:schemeClr val="bg1"/>
            </a:solidFill>
            <a:miter lim="800000"/>
            <a:headEnd/>
            <a:tailEnd/>
          </a:ln>
          <a:effectLst/>
        </p:spPr>
        <p:txBody>
          <a:bodyPr>
            <a:noAutofit/>
          </a:bodyPr>
          <a:lstStyle/>
          <a:p>
            <a:pPr>
              <a:lnSpc>
                <a:spcPct val="90000"/>
              </a:lnSpc>
            </a:pPr>
            <a:endParaRPr lang="en-US" sz="1400" dirty="0"/>
          </a:p>
        </p:txBody>
      </p:sp>
      <p:sp>
        <p:nvSpPr>
          <p:cNvPr id="12" name="Freeform 33"/>
          <p:cNvSpPr>
            <a:spLocks/>
          </p:cNvSpPr>
          <p:nvPr/>
        </p:nvSpPr>
        <p:spPr bwMode="gray">
          <a:xfrm rot="16200000">
            <a:off x="892095" y="2368852"/>
            <a:ext cx="1079647" cy="1120711"/>
          </a:xfrm>
          <a:custGeom>
            <a:avLst/>
            <a:gdLst/>
            <a:ahLst/>
            <a:cxnLst>
              <a:cxn ang="0">
                <a:pos x="242" y="1031"/>
              </a:cxn>
              <a:cxn ang="0">
                <a:pos x="1026" y="461"/>
              </a:cxn>
              <a:cxn ang="0">
                <a:pos x="392" y="0"/>
              </a:cxn>
              <a:cxn ang="0">
                <a:pos x="0" y="285"/>
              </a:cxn>
              <a:cxn ang="0">
                <a:pos x="242" y="1031"/>
              </a:cxn>
            </a:cxnLst>
            <a:rect l="0" t="0" r="r" b="b"/>
            <a:pathLst>
              <a:path w="1026" h="1031">
                <a:moveTo>
                  <a:pt x="242" y="1031"/>
                </a:moveTo>
                <a:cubicBezTo>
                  <a:pt x="557" y="928"/>
                  <a:pt x="831" y="729"/>
                  <a:pt x="1026" y="461"/>
                </a:cubicBezTo>
                <a:lnTo>
                  <a:pt x="392" y="0"/>
                </a:lnTo>
                <a:cubicBezTo>
                  <a:pt x="294" y="134"/>
                  <a:pt x="157" y="234"/>
                  <a:pt x="0" y="285"/>
                </a:cubicBezTo>
                <a:lnTo>
                  <a:pt x="242" y="1031"/>
                </a:lnTo>
                <a:close/>
              </a:path>
            </a:pathLst>
          </a:custGeom>
          <a:solidFill>
            <a:schemeClr val="accent1"/>
          </a:solidFill>
          <a:ln w="12700" cmpd="sng">
            <a:solidFill>
              <a:schemeClr val="bg1"/>
            </a:solidFill>
            <a:miter lim="800000"/>
            <a:headEnd/>
            <a:tailEnd/>
          </a:ln>
          <a:effectLst/>
        </p:spPr>
        <p:txBody>
          <a:bodyPr>
            <a:noAutofit/>
          </a:bodyPr>
          <a:lstStyle/>
          <a:p>
            <a:pPr>
              <a:lnSpc>
                <a:spcPct val="90000"/>
              </a:lnSpc>
            </a:pPr>
            <a:endParaRPr lang="en-US" sz="1400" dirty="0"/>
          </a:p>
        </p:txBody>
      </p:sp>
      <p:sp>
        <p:nvSpPr>
          <p:cNvPr id="13" name="Freeform 35"/>
          <p:cNvSpPr>
            <a:spLocks/>
          </p:cNvSpPr>
          <p:nvPr/>
        </p:nvSpPr>
        <p:spPr bwMode="gray">
          <a:xfrm rot="16200000">
            <a:off x="1150908" y="3313058"/>
            <a:ext cx="1020757" cy="923279"/>
          </a:xfrm>
          <a:custGeom>
            <a:avLst/>
            <a:gdLst/>
            <a:ahLst/>
            <a:cxnLst>
              <a:cxn ang="0">
                <a:pos x="0" y="746"/>
              </a:cxn>
              <a:cxn ang="0">
                <a:pos x="969" y="746"/>
              </a:cxn>
              <a:cxn ang="0">
                <a:pos x="727" y="0"/>
              </a:cxn>
              <a:cxn ang="0">
                <a:pos x="242" y="0"/>
              </a:cxn>
              <a:cxn ang="0">
                <a:pos x="0" y="746"/>
              </a:cxn>
            </a:cxnLst>
            <a:rect l="0" t="0" r="r" b="b"/>
            <a:pathLst>
              <a:path w="969" h="848">
                <a:moveTo>
                  <a:pt x="0" y="746"/>
                </a:moveTo>
                <a:cubicBezTo>
                  <a:pt x="315" y="848"/>
                  <a:pt x="654" y="848"/>
                  <a:pt x="969" y="746"/>
                </a:cubicBezTo>
                <a:lnTo>
                  <a:pt x="727" y="0"/>
                </a:lnTo>
                <a:cubicBezTo>
                  <a:pt x="569" y="51"/>
                  <a:pt x="400" y="51"/>
                  <a:pt x="242" y="0"/>
                </a:cubicBezTo>
                <a:lnTo>
                  <a:pt x="0" y="746"/>
                </a:lnTo>
                <a:close/>
              </a:path>
            </a:pathLst>
          </a:custGeom>
          <a:solidFill>
            <a:schemeClr val="bg2"/>
          </a:solidFill>
          <a:ln w="12700" cmpd="sng">
            <a:solidFill>
              <a:schemeClr val="bg1"/>
            </a:solidFill>
            <a:miter lim="800000"/>
            <a:headEnd/>
            <a:tailEnd/>
          </a:ln>
          <a:effectLst/>
        </p:spPr>
        <p:txBody>
          <a:bodyPr>
            <a:noAutofit/>
          </a:bodyPr>
          <a:lstStyle/>
          <a:p>
            <a:pPr>
              <a:lnSpc>
                <a:spcPct val="90000"/>
              </a:lnSpc>
            </a:pPr>
            <a:endParaRPr lang="en-US" sz="1400" dirty="0"/>
          </a:p>
        </p:txBody>
      </p:sp>
      <p:sp>
        <p:nvSpPr>
          <p:cNvPr id="14" name="Freeform 39"/>
          <p:cNvSpPr>
            <a:spLocks/>
          </p:cNvSpPr>
          <p:nvPr/>
        </p:nvSpPr>
        <p:spPr bwMode="gray">
          <a:xfrm rot="16200000">
            <a:off x="345973" y="4514703"/>
            <a:ext cx="981496" cy="1004574"/>
          </a:xfrm>
          <a:custGeom>
            <a:avLst/>
            <a:gdLst/>
            <a:ahLst/>
            <a:cxnLst>
              <a:cxn ang="0">
                <a:pos x="0" y="0"/>
              </a:cxn>
              <a:cxn ang="0">
                <a:pos x="300" y="922"/>
              </a:cxn>
              <a:cxn ang="0">
                <a:pos x="934" y="461"/>
              </a:cxn>
              <a:cxn ang="0">
                <a:pos x="784" y="0"/>
              </a:cxn>
              <a:cxn ang="0">
                <a:pos x="0" y="0"/>
              </a:cxn>
            </a:cxnLst>
            <a:rect l="0" t="0" r="r" b="b"/>
            <a:pathLst>
              <a:path w="934" h="922">
                <a:moveTo>
                  <a:pt x="0" y="0"/>
                </a:moveTo>
                <a:cubicBezTo>
                  <a:pt x="0" y="332"/>
                  <a:pt x="105" y="654"/>
                  <a:pt x="300" y="922"/>
                </a:cubicBezTo>
                <a:lnTo>
                  <a:pt x="934" y="461"/>
                </a:lnTo>
                <a:cubicBezTo>
                  <a:pt x="837" y="327"/>
                  <a:pt x="784" y="166"/>
                  <a:pt x="784" y="0"/>
                </a:cubicBezTo>
                <a:lnTo>
                  <a:pt x="0" y="0"/>
                </a:lnTo>
                <a:close/>
              </a:path>
            </a:pathLst>
          </a:custGeom>
          <a:solidFill>
            <a:schemeClr val="accent2"/>
          </a:solidFill>
          <a:ln w="12700" cmpd="sng">
            <a:solidFill>
              <a:schemeClr val="bg1"/>
            </a:solidFill>
            <a:miter lim="800000"/>
            <a:headEnd/>
            <a:tailEnd/>
          </a:ln>
          <a:effectLst/>
        </p:spPr>
        <p:txBody>
          <a:bodyPr>
            <a:noAutofit/>
          </a:bodyPr>
          <a:lstStyle/>
          <a:p>
            <a:pPr>
              <a:lnSpc>
                <a:spcPct val="90000"/>
              </a:lnSpc>
            </a:pPr>
            <a:endParaRPr lang="en-US" sz="1400" dirty="0"/>
          </a:p>
        </p:txBody>
      </p:sp>
      <p:sp>
        <p:nvSpPr>
          <p:cNvPr id="15" name="Freeform 33"/>
          <p:cNvSpPr>
            <a:spLocks/>
          </p:cNvSpPr>
          <p:nvPr/>
        </p:nvSpPr>
        <p:spPr bwMode="gray">
          <a:xfrm rot="16200000" flipH="1">
            <a:off x="892095" y="4062784"/>
            <a:ext cx="1079647" cy="1120711"/>
          </a:xfrm>
          <a:custGeom>
            <a:avLst/>
            <a:gdLst/>
            <a:ahLst/>
            <a:cxnLst>
              <a:cxn ang="0">
                <a:pos x="242" y="1031"/>
              </a:cxn>
              <a:cxn ang="0">
                <a:pos x="1026" y="461"/>
              </a:cxn>
              <a:cxn ang="0">
                <a:pos x="392" y="0"/>
              </a:cxn>
              <a:cxn ang="0">
                <a:pos x="0" y="285"/>
              </a:cxn>
              <a:cxn ang="0">
                <a:pos x="242" y="1031"/>
              </a:cxn>
            </a:cxnLst>
            <a:rect l="0" t="0" r="r" b="b"/>
            <a:pathLst>
              <a:path w="1026" h="1031">
                <a:moveTo>
                  <a:pt x="242" y="1031"/>
                </a:moveTo>
                <a:cubicBezTo>
                  <a:pt x="557" y="928"/>
                  <a:pt x="831" y="729"/>
                  <a:pt x="1026" y="461"/>
                </a:cubicBezTo>
                <a:lnTo>
                  <a:pt x="392" y="0"/>
                </a:lnTo>
                <a:cubicBezTo>
                  <a:pt x="294" y="134"/>
                  <a:pt x="157" y="234"/>
                  <a:pt x="0" y="285"/>
                </a:cubicBezTo>
                <a:lnTo>
                  <a:pt x="242" y="1031"/>
                </a:lnTo>
                <a:close/>
              </a:path>
            </a:pathLst>
          </a:custGeom>
          <a:solidFill>
            <a:schemeClr val="accent3"/>
          </a:solidFill>
          <a:ln w="12700" cmpd="sng">
            <a:solidFill>
              <a:schemeClr val="bg1"/>
            </a:solidFill>
            <a:miter lim="800000"/>
            <a:headEnd/>
            <a:tailEnd/>
          </a:ln>
          <a:effectLst/>
        </p:spPr>
        <p:txBody>
          <a:bodyPr>
            <a:noAutofit/>
          </a:bodyPr>
          <a:lstStyle/>
          <a:p>
            <a:pPr>
              <a:lnSpc>
                <a:spcPct val="90000"/>
              </a:lnSpc>
            </a:pPr>
            <a:endParaRPr lang="en-US" sz="1400" dirty="0"/>
          </a:p>
        </p:txBody>
      </p:sp>
      <p:sp>
        <p:nvSpPr>
          <p:cNvPr id="16" name="Rectangle 15"/>
          <p:cNvSpPr/>
          <p:nvPr/>
        </p:nvSpPr>
        <p:spPr>
          <a:xfrm>
            <a:off x="3328844" y="1647398"/>
            <a:ext cx="8533874" cy="796192"/>
          </a:xfrm>
          <a:prstGeom prst="rect">
            <a:avLst/>
          </a:prstGeom>
          <a:solidFill>
            <a:schemeClr val="tx2">
              <a:lumMod val="60000"/>
              <a:lumOff val="40000"/>
            </a:schemeClr>
          </a:solidFill>
          <a:ln w="19050" cap="flat">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00" tIns="73152" rIns="73152" bIns="73152" numCol="1" spcCol="0" rtlCol="0" fromWordArt="0" anchor="ctr" anchorCtr="0" forceAA="0" compatLnSpc="1">
            <a:prstTxWarp prst="textNoShape">
              <a:avLst/>
            </a:prstTxWarp>
            <a:noAutofit/>
          </a:bodyPr>
          <a:lstStyle/>
          <a:p>
            <a:pPr>
              <a:lnSpc>
                <a:spcPct val="90000"/>
              </a:lnSpc>
              <a:spcBef>
                <a:spcPts val="200"/>
              </a:spcBef>
              <a:buClr>
                <a:schemeClr val="bg2"/>
              </a:buClr>
              <a:buSzPct val="100000"/>
            </a:pPr>
            <a:r>
              <a:rPr lang="en-US" sz="1200" b="1" dirty="0" smtClean="0">
                <a:solidFill>
                  <a:schemeClr val="tx1"/>
                </a:solidFill>
                <a:latin typeface="Arial" pitchFamily="34" charset="0"/>
                <a:cs typeface="Arial" pitchFamily="34" charset="0"/>
              </a:rPr>
              <a:t>Proof of concept - </a:t>
            </a:r>
            <a:r>
              <a:rPr lang="en-US" sz="1200" dirty="0" smtClean="0">
                <a:solidFill>
                  <a:schemeClr val="tx1"/>
                </a:solidFill>
                <a:latin typeface="Arial" pitchFamily="34" charset="0"/>
                <a:cs typeface="Arial" pitchFamily="34" charset="0"/>
              </a:rPr>
              <a:t>That </a:t>
            </a:r>
            <a:r>
              <a:rPr lang="en-US" sz="1200" dirty="0">
                <a:solidFill>
                  <a:schemeClr val="tx1"/>
                </a:solidFill>
                <a:latin typeface="Arial" pitchFamily="34" charset="0"/>
                <a:cs typeface="Arial" pitchFamily="34" charset="0"/>
              </a:rPr>
              <a:t>proves not only technology, but also how the integration and customer experience actually is enhanced. The PoCs must show how  the technology improves current systems – we need not to do autonomous just because we </a:t>
            </a:r>
            <a:r>
              <a:rPr lang="en-US" sz="1200" dirty="0" smtClean="0">
                <a:solidFill>
                  <a:schemeClr val="tx1"/>
                </a:solidFill>
                <a:latin typeface="Arial" pitchFamily="34" charset="0"/>
                <a:cs typeface="Arial" pitchFamily="34" charset="0"/>
              </a:rPr>
              <a:t>can. This is an important factor for also educating the customers</a:t>
            </a:r>
            <a:endParaRPr lang="en-US" sz="1200" dirty="0">
              <a:solidFill>
                <a:schemeClr val="tx1"/>
              </a:solidFill>
              <a:latin typeface="Arial" pitchFamily="34" charset="0"/>
              <a:cs typeface="Arial" pitchFamily="34" charset="0"/>
            </a:endParaRPr>
          </a:p>
        </p:txBody>
      </p:sp>
      <p:sp>
        <p:nvSpPr>
          <p:cNvPr id="17" name="Rectangle 16"/>
          <p:cNvSpPr/>
          <p:nvPr/>
        </p:nvSpPr>
        <p:spPr>
          <a:xfrm>
            <a:off x="3328844" y="2511998"/>
            <a:ext cx="8533874" cy="796192"/>
          </a:xfrm>
          <a:prstGeom prst="rect">
            <a:avLst/>
          </a:prstGeom>
          <a:solidFill>
            <a:schemeClr val="accent1">
              <a:lumMod val="60000"/>
              <a:lumOff val="40000"/>
            </a:schemeClr>
          </a:solidFill>
          <a:ln w="19050" cap="flat">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00" tIns="73152" rIns="73152" bIns="73152" numCol="1" spcCol="0" rtlCol="0" fromWordArt="0" anchor="ctr" anchorCtr="0" forceAA="0" compatLnSpc="1">
            <a:prstTxWarp prst="textNoShape">
              <a:avLst/>
            </a:prstTxWarp>
            <a:noAutofit/>
          </a:bodyPr>
          <a:lstStyle/>
          <a:p>
            <a:pPr>
              <a:lnSpc>
                <a:spcPct val="90000"/>
              </a:lnSpc>
              <a:spcBef>
                <a:spcPts val="200"/>
              </a:spcBef>
              <a:buClr>
                <a:schemeClr val="bg2"/>
              </a:buClr>
              <a:buSzPct val="100000"/>
            </a:pPr>
            <a:r>
              <a:rPr lang="en-US" sz="1200" b="1" dirty="0" smtClean="0">
                <a:solidFill>
                  <a:schemeClr val="tx1"/>
                </a:solidFill>
                <a:latin typeface="Arial" pitchFamily="34" charset="0"/>
                <a:cs typeface="Arial" pitchFamily="34" charset="0"/>
              </a:rPr>
              <a:t>Infrastructure - </a:t>
            </a:r>
            <a:r>
              <a:rPr lang="en-US" sz="1200" dirty="0" smtClean="0">
                <a:solidFill>
                  <a:schemeClr val="tx1"/>
                </a:solidFill>
                <a:latin typeface="Arial" pitchFamily="34" charset="0"/>
                <a:cs typeface="Arial" pitchFamily="34" charset="0"/>
              </a:rPr>
              <a:t>“Smart city” infrastructure needs to be implemented so that for example a traffic light can wirelessly alert an oncoming autonomous vehicle of a red light. </a:t>
            </a:r>
          </a:p>
          <a:p>
            <a:pPr>
              <a:lnSpc>
                <a:spcPct val="90000"/>
              </a:lnSpc>
              <a:spcBef>
                <a:spcPts val="200"/>
              </a:spcBef>
              <a:buClr>
                <a:schemeClr val="bg2"/>
              </a:buClr>
              <a:buSzPct val="100000"/>
            </a:pPr>
            <a:r>
              <a:rPr lang="en-US" sz="1200" dirty="0">
                <a:solidFill>
                  <a:schemeClr val="tx1"/>
                </a:solidFill>
                <a:latin typeface="Arial" pitchFamily="34" charset="0"/>
                <a:cs typeface="Arial" pitchFamily="34" charset="0"/>
              </a:rPr>
              <a:t>T</a:t>
            </a:r>
            <a:r>
              <a:rPr lang="en-US" sz="1200" dirty="0" smtClean="0">
                <a:solidFill>
                  <a:schemeClr val="tx1"/>
                </a:solidFill>
                <a:latin typeface="Arial" pitchFamily="34" charset="0"/>
                <a:cs typeface="Arial" pitchFamily="34" charset="0"/>
              </a:rPr>
              <a:t>he </a:t>
            </a:r>
            <a:r>
              <a:rPr lang="en-US" sz="1200" dirty="0">
                <a:solidFill>
                  <a:schemeClr val="tx1"/>
                </a:solidFill>
                <a:latin typeface="Arial" pitchFamily="34" charset="0"/>
                <a:cs typeface="Arial" pitchFamily="34" charset="0"/>
              </a:rPr>
              <a:t>vehicles need to operate together with other traffic in some areas, in other areas the infrastructure can be specialized for certain </a:t>
            </a:r>
            <a:r>
              <a:rPr lang="en-US" sz="1200" dirty="0" smtClean="0">
                <a:solidFill>
                  <a:schemeClr val="tx1"/>
                </a:solidFill>
                <a:latin typeface="Arial" pitchFamily="34" charset="0"/>
                <a:cs typeface="Arial" pitchFamily="34" charset="0"/>
              </a:rPr>
              <a:t>vehicles. Facilities for charging must be developed.</a:t>
            </a:r>
            <a:endParaRPr lang="en-US" sz="1200" dirty="0" smtClean="0">
              <a:solidFill>
                <a:schemeClr val="tx1"/>
              </a:solidFill>
              <a:latin typeface="Arial" pitchFamily="34" charset="0"/>
              <a:cs typeface="Arial" pitchFamily="34" charset="0"/>
            </a:endParaRPr>
          </a:p>
        </p:txBody>
      </p:sp>
      <p:sp>
        <p:nvSpPr>
          <p:cNvPr id="18" name="Rectangle 17"/>
          <p:cNvSpPr/>
          <p:nvPr/>
        </p:nvSpPr>
        <p:spPr>
          <a:xfrm>
            <a:off x="3328844" y="3376601"/>
            <a:ext cx="8533874" cy="796192"/>
          </a:xfrm>
          <a:prstGeom prst="rect">
            <a:avLst/>
          </a:prstGeom>
          <a:solidFill>
            <a:schemeClr val="bg2">
              <a:lumMod val="60000"/>
              <a:lumOff val="40000"/>
            </a:schemeClr>
          </a:solidFill>
          <a:ln w="19050" cap="flat">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00" tIns="73152" rIns="36000" bIns="73152" numCol="1" spcCol="0" rtlCol="0" fromWordArt="0" anchor="ctr" anchorCtr="0" forceAA="0" compatLnSpc="1">
            <a:prstTxWarp prst="textNoShape">
              <a:avLst/>
            </a:prstTxWarp>
            <a:noAutofit/>
          </a:bodyPr>
          <a:lstStyle/>
          <a:p>
            <a:pPr>
              <a:lnSpc>
                <a:spcPct val="90000"/>
              </a:lnSpc>
              <a:spcBef>
                <a:spcPts val="200"/>
              </a:spcBef>
              <a:buClr>
                <a:schemeClr val="bg2"/>
              </a:buClr>
              <a:buSzPct val="100000"/>
            </a:pPr>
            <a:r>
              <a:rPr lang="en-US" sz="1200" b="1" dirty="0" smtClean="0">
                <a:solidFill>
                  <a:schemeClr val="tx1"/>
                </a:solidFill>
                <a:latin typeface="Arial" pitchFamily="34" charset="0"/>
                <a:cs typeface="Arial" pitchFamily="34" charset="0"/>
              </a:rPr>
              <a:t>Legal and regulatory - </a:t>
            </a:r>
            <a:r>
              <a:rPr lang="en-US" sz="1200" dirty="0" smtClean="0">
                <a:solidFill>
                  <a:schemeClr val="tx1"/>
                </a:solidFill>
                <a:latin typeface="Arial" pitchFamily="34" charset="0"/>
                <a:cs typeface="Arial" pitchFamily="34" charset="0"/>
              </a:rPr>
              <a:t>needs </a:t>
            </a:r>
            <a:r>
              <a:rPr lang="en-US" sz="1200" dirty="0">
                <a:solidFill>
                  <a:schemeClr val="tx1"/>
                </a:solidFill>
                <a:latin typeface="Arial" pitchFamily="34" charset="0"/>
                <a:cs typeface="Arial" pitchFamily="34" charset="0"/>
              </a:rPr>
              <a:t>to be in place and potentially also legally tested. </a:t>
            </a:r>
            <a:r>
              <a:rPr lang="en-US" sz="1200" dirty="0" smtClean="0">
                <a:solidFill>
                  <a:schemeClr val="tx1"/>
                </a:solidFill>
                <a:latin typeface="Arial" pitchFamily="34" charset="0"/>
                <a:cs typeface="Arial" pitchFamily="34" charset="0"/>
              </a:rPr>
              <a:t>Data </a:t>
            </a:r>
            <a:r>
              <a:rPr lang="en-US" sz="1200" dirty="0">
                <a:solidFill>
                  <a:schemeClr val="tx1"/>
                </a:solidFill>
                <a:latin typeface="Arial" pitchFamily="34" charset="0"/>
                <a:cs typeface="Arial" pitchFamily="34" charset="0"/>
              </a:rPr>
              <a:t>protection authorities must be part of the regulations, given that an autonomous vehicle must contain sensors that will access potential personal information that need to be handled there after. Such information is also needed to grow this as a smart service, to be personalized and optimized. </a:t>
            </a:r>
          </a:p>
        </p:txBody>
      </p:sp>
      <p:sp>
        <p:nvSpPr>
          <p:cNvPr id="19" name="Rectangle 18"/>
          <p:cNvSpPr/>
          <p:nvPr/>
        </p:nvSpPr>
        <p:spPr>
          <a:xfrm>
            <a:off x="3328844" y="4241203"/>
            <a:ext cx="8533874" cy="796192"/>
          </a:xfrm>
          <a:prstGeom prst="rect">
            <a:avLst/>
          </a:prstGeom>
          <a:solidFill>
            <a:schemeClr val="accent3">
              <a:lumMod val="40000"/>
              <a:lumOff val="60000"/>
            </a:schemeClr>
          </a:solidFill>
          <a:ln w="19050" cap="flat">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00" tIns="73152" rIns="36000" bIns="73152" numCol="1" spcCol="0" rtlCol="0" fromWordArt="0" anchor="ctr" anchorCtr="0" forceAA="0" compatLnSpc="1">
            <a:prstTxWarp prst="textNoShape">
              <a:avLst/>
            </a:prstTxWarp>
            <a:noAutofit/>
          </a:bodyPr>
          <a:lstStyle/>
          <a:p>
            <a:pPr>
              <a:lnSpc>
                <a:spcPct val="90000"/>
              </a:lnSpc>
              <a:spcBef>
                <a:spcPts val="200"/>
              </a:spcBef>
              <a:buClr>
                <a:schemeClr val="bg2"/>
              </a:buClr>
              <a:buSzPct val="100000"/>
            </a:pPr>
            <a:r>
              <a:rPr lang="en-US" sz="1200" b="1" dirty="0">
                <a:solidFill>
                  <a:schemeClr val="tx1"/>
                </a:solidFill>
                <a:latin typeface="Arial" pitchFamily="34" charset="0"/>
                <a:cs typeface="Arial" pitchFamily="34" charset="0"/>
              </a:rPr>
              <a:t>Technology</a:t>
            </a:r>
            <a:r>
              <a:rPr lang="en-US" sz="1200" dirty="0">
                <a:solidFill>
                  <a:schemeClr val="tx1"/>
                </a:solidFill>
                <a:latin typeface="Arial" pitchFamily="34" charset="0"/>
                <a:cs typeface="Arial" pitchFamily="34" charset="0"/>
              </a:rPr>
              <a:t> must be further enhanced, meaning that the </a:t>
            </a:r>
            <a:r>
              <a:rPr lang="en-US" sz="1200" dirty="0" smtClean="0">
                <a:solidFill>
                  <a:schemeClr val="tx1"/>
                </a:solidFill>
                <a:latin typeface="Arial" pitchFamily="34" charset="0"/>
                <a:cs typeface="Arial" pitchFamily="34" charset="0"/>
              </a:rPr>
              <a:t>vehicles </a:t>
            </a:r>
            <a:r>
              <a:rPr lang="en-US" sz="1200" dirty="0">
                <a:solidFill>
                  <a:schemeClr val="tx1"/>
                </a:solidFill>
                <a:latin typeface="Arial" pitchFamily="34" charset="0"/>
                <a:cs typeface="Arial" pitchFamily="34" charset="0"/>
              </a:rPr>
              <a:t>need to perform with other traffic and handle all traffic situations. This means that there will be need for extensive machine </a:t>
            </a:r>
            <a:r>
              <a:rPr lang="en-US" sz="1200" dirty="0" smtClean="0">
                <a:solidFill>
                  <a:schemeClr val="tx1"/>
                </a:solidFill>
                <a:latin typeface="Arial" pitchFamily="34" charset="0"/>
                <a:cs typeface="Arial" pitchFamily="34" charset="0"/>
              </a:rPr>
              <a:t>learning and sensors, </a:t>
            </a:r>
            <a:r>
              <a:rPr lang="en-US" sz="1200" dirty="0">
                <a:solidFill>
                  <a:schemeClr val="tx1"/>
                </a:solidFill>
                <a:latin typeface="Arial" pitchFamily="34" charset="0"/>
                <a:cs typeface="Arial" pitchFamily="34" charset="0"/>
              </a:rPr>
              <a:t>both before launch of service, but also after to grow and improve. Non-autonomous vehicles, and autonomous will have to have M2M collaboration fully integrated to ensure a more seamless travel experience for the customers</a:t>
            </a:r>
          </a:p>
        </p:txBody>
      </p:sp>
      <p:sp>
        <p:nvSpPr>
          <p:cNvPr id="20" name="Rectangle 19"/>
          <p:cNvSpPr/>
          <p:nvPr/>
        </p:nvSpPr>
        <p:spPr>
          <a:xfrm>
            <a:off x="3328844" y="5105803"/>
            <a:ext cx="8533874" cy="796192"/>
          </a:xfrm>
          <a:prstGeom prst="rect">
            <a:avLst/>
          </a:prstGeom>
          <a:solidFill>
            <a:schemeClr val="accent2">
              <a:lumMod val="40000"/>
              <a:lumOff val="60000"/>
            </a:schemeClr>
          </a:solidFill>
          <a:ln w="19050" cap="flat">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00" tIns="73152" rIns="36000" bIns="73152" numCol="1" spcCol="0" rtlCol="0" fromWordArt="0" anchor="ctr" anchorCtr="0" forceAA="0" compatLnSpc="1">
            <a:prstTxWarp prst="textNoShape">
              <a:avLst/>
            </a:prstTxWarp>
            <a:noAutofit/>
          </a:bodyPr>
          <a:lstStyle/>
          <a:p>
            <a:pPr>
              <a:lnSpc>
                <a:spcPct val="90000"/>
              </a:lnSpc>
              <a:spcBef>
                <a:spcPts val="200"/>
              </a:spcBef>
              <a:buClr>
                <a:schemeClr val="bg2"/>
              </a:buClr>
              <a:buSzPct val="100000"/>
            </a:pPr>
            <a:r>
              <a:rPr lang="en-US" sz="1200" b="1" dirty="0">
                <a:solidFill>
                  <a:schemeClr val="tx1"/>
                </a:solidFill>
                <a:latin typeface="Arial" pitchFamily="34" charset="0"/>
                <a:cs typeface="Arial" pitchFamily="34" charset="0"/>
              </a:rPr>
              <a:t>New </a:t>
            </a:r>
            <a:r>
              <a:rPr lang="en-US" sz="1200" b="1" dirty="0" smtClean="0">
                <a:solidFill>
                  <a:schemeClr val="tx1"/>
                </a:solidFill>
                <a:latin typeface="Arial" pitchFamily="34" charset="0"/>
                <a:cs typeface="Arial" pitchFamily="34" charset="0"/>
              </a:rPr>
              <a:t>partnerships  </a:t>
            </a:r>
            <a:r>
              <a:rPr lang="en-US" sz="1200" dirty="0" smtClean="0">
                <a:solidFill>
                  <a:schemeClr val="tx1"/>
                </a:solidFill>
                <a:latin typeface="Arial" pitchFamily="34" charset="0"/>
                <a:cs typeface="Arial" pitchFamily="34" charset="0"/>
              </a:rPr>
              <a:t>must </a:t>
            </a:r>
            <a:r>
              <a:rPr lang="en-US" sz="1200" dirty="0">
                <a:solidFill>
                  <a:schemeClr val="tx1"/>
                </a:solidFill>
                <a:latin typeface="Arial" pitchFamily="34" charset="0"/>
                <a:cs typeface="Arial" pitchFamily="34" charset="0"/>
              </a:rPr>
              <a:t>be formed, where experiences from different services are brought together to deliver new. </a:t>
            </a:r>
            <a:r>
              <a:rPr lang="en-US" sz="1200" dirty="0" smtClean="0">
                <a:solidFill>
                  <a:schemeClr val="tx1"/>
                </a:solidFill>
                <a:latin typeface="Arial" pitchFamily="34" charset="0"/>
                <a:cs typeface="Arial" pitchFamily="34" charset="0"/>
              </a:rPr>
              <a:t>Standardization between competitors must be solved</a:t>
            </a:r>
            <a:endParaRPr lang="en-US" sz="1200" dirty="0">
              <a:solidFill>
                <a:schemeClr val="tx1"/>
              </a:solidFill>
              <a:latin typeface="Arial" pitchFamily="34" charset="0"/>
              <a:cs typeface="Arial" pitchFamily="34" charset="0"/>
            </a:endParaRPr>
          </a:p>
        </p:txBody>
      </p:sp>
      <p:sp>
        <p:nvSpPr>
          <p:cNvPr id="21" name="Rectangle 20"/>
          <p:cNvSpPr/>
          <p:nvPr/>
        </p:nvSpPr>
        <p:spPr>
          <a:xfrm>
            <a:off x="335426" y="3335705"/>
            <a:ext cx="733567" cy="886397"/>
          </a:xfrm>
          <a:prstGeom prst="rect">
            <a:avLst/>
          </a:prstGeom>
        </p:spPr>
        <p:txBody>
          <a:bodyPr wrap="square" lIns="0" tIns="0" rIns="0" bIns="0" anchor="ctr" anchorCtr="0">
            <a:noAutofit/>
          </a:bodyPr>
          <a:lstStyle/>
          <a:p>
            <a:pPr>
              <a:lnSpc>
                <a:spcPct val="90000"/>
              </a:lnSpc>
            </a:pPr>
            <a:r>
              <a:rPr lang="en-US" sz="1200" b="1" spc="-20" dirty="0" smtClean="0">
                <a:latin typeface="Arial" pitchFamily="34" charset="0"/>
                <a:cs typeface="Arial" pitchFamily="34" charset="0"/>
              </a:rPr>
              <a:t>Obstacles</a:t>
            </a:r>
            <a:endParaRPr lang="en-US" sz="1200" spc="-20" dirty="0"/>
          </a:p>
        </p:txBody>
      </p:sp>
      <p:sp>
        <p:nvSpPr>
          <p:cNvPr id="22" name="Oval 21"/>
          <p:cNvSpPr/>
          <p:nvPr/>
        </p:nvSpPr>
        <p:spPr>
          <a:xfrm>
            <a:off x="1274570" y="2840780"/>
            <a:ext cx="279931" cy="281945"/>
          </a:xfrm>
          <a:prstGeom prst="ellipse">
            <a:avLst/>
          </a:prstGeom>
          <a:noFill/>
          <a:ln w="6350" cap="flat">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pPr>
            <a:r>
              <a:rPr lang="en-US" sz="1600" b="1" dirty="0">
                <a:solidFill>
                  <a:schemeClr val="bg1"/>
                </a:solidFill>
                <a:latin typeface="Arial"/>
                <a:cs typeface="Arial" pitchFamily="34" charset="0"/>
              </a:rPr>
              <a:t>2</a:t>
            </a:r>
          </a:p>
        </p:txBody>
      </p:sp>
      <p:sp>
        <p:nvSpPr>
          <p:cNvPr id="23" name="Oval 22"/>
          <p:cNvSpPr/>
          <p:nvPr/>
        </p:nvSpPr>
        <p:spPr>
          <a:xfrm>
            <a:off x="558244" y="2371027"/>
            <a:ext cx="279931" cy="281945"/>
          </a:xfrm>
          <a:prstGeom prst="ellipse">
            <a:avLst/>
          </a:prstGeom>
          <a:noFill/>
          <a:ln w="6350" cap="flat">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pPr>
            <a:r>
              <a:rPr lang="en-US" sz="1600" b="1" dirty="0">
                <a:solidFill>
                  <a:schemeClr val="bg1"/>
                </a:solidFill>
                <a:latin typeface="Arial"/>
                <a:cs typeface="Arial" pitchFamily="34" charset="0"/>
              </a:rPr>
              <a:t>1</a:t>
            </a:r>
          </a:p>
        </p:txBody>
      </p:sp>
      <p:sp>
        <p:nvSpPr>
          <p:cNvPr id="24" name="Oval 23"/>
          <p:cNvSpPr/>
          <p:nvPr/>
        </p:nvSpPr>
        <p:spPr>
          <a:xfrm>
            <a:off x="1554501" y="3633725"/>
            <a:ext cx="279931" cy="281945"/>
          </a:xfrm>
          <a:prstGeom prst="ellipse">
            <a:avLst/>
          </a:prstGeom>
          <a:noFill/>
          <a:ln w="6350" cap="flat">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pPr>
            <a:r>
              <a:rPr lang="en-US" sz="1600" b="1" dirty="0">
                <a:solidFill>
                  <a:schemeClr val="bg1"/>
                </a:solidFill>
                <a:latin typeface="Arial"/>
                <a:cs typeface="Arial" pitchFamily="34" charset="0"/>
              </a:rPr>
              <a:t>3</a:t>
            </a:r>
          </a:p>
        </p:txBody>
      </p:sp>
      <p:sp>
        <p:nvSpPr>
          <p:cNvPr id="25" name="Oval 24"/>
          <p:cNvSpPr/>
          <p:nvPr/>
        </p:nvSpPr>
        <p:spPr>
          <a:xfrm>
            <a:off x="1274570" y="4482167"/>
            <a:ext cx="279931" cy="281945"/>
          </a:xfrm>
          <a:prstGeom prst="ellipse">
            <a:avLst/>
          </a:prstGeom>
          <a:noFill/>
          <a:ln w="6350" cap="flat">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pPr>
            <a:r>
              <a:rPr lang="en-US" sz="1600" b="1" dirty="0">
                <a:solidFill>
                  <a:schemeClr val="bg1"/>
                </a:solidFill>
                <a:latin typeface="Arial"/>
                <a:cs typeface="Arial" pitchFamily="34" charset="0"/>
              </a:rPr>
              <a:t>4</a:t>
            </a:r>
          </a:p>
        </p:txBody>
      </p:sp>
      <p:sp>
        <p:nvSpPr>
          <p:cNvPr id="26" name="Oval 25"/>
          <p:cNvSpPr/>
          <p:nvPr/>
        </p:nvSpPr>
        <p:spPr>
          <a:xfrm>
            <a:off x="558244" y="4896423"/>
            <a:ext cx="279931" cy="281945"/>
          </a:xfrm>
          <a:prstGeom prst="ellipse">
            <a:avLst/>
          </a:prstGeom>
          <a:noFill/>
          <a:ln w="6350" cap="flat">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pPr>
            <a:r>
              <a:rPr lang="en-US" sz="1600" b="1" dirty="0">
                <a:solidFill>
                  <a:schemeClr val="bg1"/>
                </a:solidFill>
                <a:latin typeface="Arial"/>
                <a:cs typeface="Arial" pitchFamily="34" charset="0"/>
              </a:rPr>
              <a:t>5</a:t>
            </a:r>
          </a:p>
        </p:txBody>
      </p:sp>
      <p:sp>
        <p:nvSpPr>
          <p:cNvPr id="27" name="Oval 26"/>
          <p:cNvSpPr/>
          <p:nvPr/>
        </p:nvSpPr>
        <p:spPr>
          <a:xfrm>
            <a:off x="3328843" y="1588678"/>
            <a:ext cx="299775" cy="281945"/>
          </a:xfrm>
          <a:prstGeom prst="ellipse">
            <a:avLst/>
          </a:prstGeom>
          <a:solidFill>
            <a:schemeClr val="tx2"/>
          </a:solidFill>
          <a:ln w="6350" cap="flat">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pPr>
            <a:r>
              <a:rPr lang="en-US" sz="1600" b="1" dirty="0">
                <a:solidFill>
                  <a:schemeClr val="bg1"/>
                </a:solidFill>
                <a:latin typeface="Arial"/>
                <a:cs typeface="Arial" pitchFamily="34" charset="0"/>
              </a:rPr>
              <a:t>1</a:t>
            </a:r>
          </a:p>
        </p:txBody>
      </p:sp>
      <p:sp>
        <p:nvSpPr>
          <p:cNvPr id="28" name="Oval 27"/>
          <p:cNvSpPr/>
          <p:nvPr/>
        </p:nvSpPr>
        <p:spPr>
          <a:xfrm>
            <a:off x="3328843" y="2453278"/>
            <a:ext cx="299775" cy="281945"/>
          </a:xfrm>
          <a:prstGeom prst="ellipse">
            <a:avLst/>
          </a:prstGeom>
          <a:solidFill>
            <a:schemeClr val="accent1"/>
          </a:solidFill>
          <a:ln w="6350" cap="flat">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pPr>
            <a:r>
              <a:rPr lang="en-US" sz="1600" b="1" dirty="0">
                <a:solidFill>
                  <a:schemeClr val="bg1"/>
                </a:solidFill>
                <a:latin typeface="Arial"/>
                <a:cs typeface="Arial" pitchFamily="34" charset="0"/>
              </a:rPr>
              <a:t>2</a:t>
            </a:r>
          </a:p>
        </p:txBody>
      </p:sp>
      <p:sp>
        <p:nvSpPr>
          <p:cNvPr id="29" name="Oval 28"/>
          <p:cNvSpPr/>
          <p:nvPr/>
        </p:nvSpPr>
        <p:spPr>
          <a:xfrm>
            <a:off x="3328843" y="3317881"/>
            <a:ext cx="299775" cy="281945"/>
          </a:xfrm>
          <a:prstGeom prst="ellipse">
            <a:avLst/>
          </a:prstGeom>
          <a:solidFill>
            <a:schemeClr val="bg2"/>
          </a:solidFill>
          <a:ln w="6350" cap="flat">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pPr>
            <a:r>
              <a:rPr lang="en-US" sz="1600" b="1" dirty="0">
                <a:solidFill>
                  <a:schemeClr val="bg1"/>
                </a:solidFill>
                <a:latin typeface="Arial"/>
                <a:cs typeface="Arial" pitchFamily="34" charset="0"/>
              </a:rPr>
              <a:t>3</a:t>
            </a:r>
          </a:p>
        </p:txBody>
      </p:sp>
      <p:sp>
        <p:nvSpPr>
          <p:cNvPr id="30" name="Oval 29"/>
          <p:cNvSpPr/>
          <p:nvPr/>
        </p:nvSpPr>
        <p:spPr>
          <a:xfrm>
            <a:off x="3328843" y="4182483"/>
            <a:ext cx="299775" cy="281945"/>
          </a:xfrm>
          <a:prstGeom prst="ellipse">
            <a:avLst/>
          </a:prstGeom>
          <a:solidFill>
            <a:schemeClr val="accent3"/>
          </a:solidFill>
          <a:ln w="6350" cap="flat">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pPr>
            <a:r>
              <a:rPr lang="en-US" sz="1600" b="1" dirty="0">
                <a:solidFill>
                  <a:schemeClr val="bg1"/>
                </a:solidFill>
                <a:latin typeface="Arial"/>
                <a:cs typeface="Arial" pitchFamily="34" charset="0"/>
              </a:rPr>
              <a:t>4</a:t>
            </a:r>
          </a:p>
        </p:txBody>
      </p:sp>
      <p:sp>
        <p:nvSpPr>
          <p:cNvPr id="31" name="Oval 30"/>
          <p:cNvSpPr/>
          <p:nvPr/>
        </p:nvSpPr>
        <p:spPr>
          <a:xfrm>
            <a:off x="3328843" y="5047083"/>
            <a:ext cx="299775" cy="281945"/>
          </a:xfrm>
          <a:prstGeom prst="ellipse">
            <a:avLst/>
          </a:prstGeom>
          <a:solidFill>
            <a:schemeClr val="accent2"/>
          </a:solidFill>
          <a:ln w="6350" cap="flat">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pPr>
            <a:r>
              <a:rPr lang="en-US" sz="1600" b="1" dirty="0">
                <a:solidFill>
                  <a:schemeClr val="bg1"/>
                </a:solidFill>
                <a:latin typeface="Arial"/>
                <a:cs typeface="Arial" pitchFamily="34" charset="0"/>
              </a:rPr>
              <a:t>5</a:t>
            </a:r>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618679" y="4390415"/>
            <a:ext cx="434272" cy="434272"/>
          </a:xfrm>
          <a:prstGeom prst="rect">
            <a:avLst/>
          </a:prstGeom>
        </p:spPr>
      </p:pic>
      <p:pic>
        <p:nvPicPr>
          <p:cNvPr id="38" name="Picture 3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53707" y="3608131"/>
            <a:ext cx="399244" cy="399244"/>
          </a:xfrm>
          <a:prstGeom prst="rect">
            <a:avLst/>
          </a:prstGeom>
        </p:spPr>
      </p:pic>
      <p:pic>
        <p:nvPicPr>
          <p:cNvPr id="40" name="Picture 3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628618" y="2687926"/>
            <a:ext cx="441991" cy="441991"/>
          </a:xfrm>
          <a:prstGeom prst="rect">
            <a:avLst/>
          </a:prstGeom>
        </p:spPr>
      </p:pic>
      <p:pic>
        <p:nvPicPr>
          <p:cNvPr id="41" name="Picture 4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584201" y="5337883"/>
            <a:ext cx="399244" cy="399244"/>
          </a:xfrm>
          <a:prstGeom prst="rect">
            <a:avLst/>
          </a:prstGeom>
        </p:spPr>
      </p:pic>
      <p:pic>
        <p:nvPicPr>
          <p:cNvPr id="42" name="Picture 4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622955" y="1814046"/>
            <a:ext cx="434273" cy="434273"/>
          </a:xfrm>
          <a:prstGeom prst="rect">
            <a:avLst/>
          </a:prstGeom>
        </p:spPr>
      </p:pic>
      <p:sp>
        <p:nvSpPr>
          <p:cNvPr id="33" name="Rectangle 32"/>
          <p:cNvSpPr/>
          <p:nvPr/>
        </p:nvSpPr>
        <p:spPr>
          <a:xfrm>
            <a:off x="258314" y="1102838"/>
            <a:ext cx="1287532" cy="369332"/>
          </a:xfrm>
          <a:prstGeom prst="rect">
            <a:avLst/>
          </a:prstGeom>
        </p:spPr>
        <p:txBody>
          <a:bodyPr wrap="none">
            <a:spAutoFit/>
          </a:bodyPr>
          <a:lstStyle/>
          <a:p>
            <a:r>
              <a:rPr lang="en-US" b="1" dirty="0" smtClean="0"/>
              <a:t>Obstacles</a:t>
            </a:r>
            <a:endParaRPr lang="en-US" b="1" dirty="0"/>
          </a:p>
        </p:txBody>
      </p:sp>
    </p:spTree>
    <p:extLst>
      <p:ext uri="{BB962C8B-B14F-4D97-AF65-F5344CB8AC3E}">
        <p14:creationId xmlns:p14="http://schemas.microsoft.com/office/powerpoint/2010/main" val="3528196299"/>
      </p:ext>
    </p:extLst>
  </p:cSld>
  <p:clrMapOvr>
    <a:masterClrMapping/>
  </p:clrMapOvr>
  <p:transition spd="slow"/>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4434" y="522688"/>
            <a:ext cx="11523133" cy="529825"/>
          </a:xfrm>
        </p:spPr>
        <p:txBody>
          <a:bodyPr/>
          <a:lstStyle/>
          <a:p>
            <a:r>
              <a:rPr lang="en-US" sz="2000" dirty="0" smtClean="0"/>
              <a:t>Operations is still a few years ahead, but we are ready to start – and Ruter should invest and establish partnerships to grow the concepts to be an attractive business partner in the area</a:t>
            </a:r>
            <a:endParaRPr lang="en-US" sz="2000" dirty="0"/>
          </a:p>
        </p:txBody>
      </p:sp>
      <p:sp>
        <p:nvSpPr>
          <p:cNvPr id="3" name="Content Placeholder 2"/>
          <p:cNvSpPr>
            <a:spLocks noGrp="1"/>
          </p:cNvSpPr>
          <p:nvPr>
            <p:ph idx="1"/>
          </p:nvPr>
        </p:nvSpPr>
        <p:spPr>
          <a:xfrm>
            <a:off x="334435" y="1628775"/>
            <a:ext cx="5588693" cy="424815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2075" tIns="46038" rIns="92075" bIns="46038" numCol="1" anchor="t" anchorCtr="0" compatLnSpc="1">
            <a:prstTxWarp prst="textNoShape">
              <a:avLst/>
            </a:prstTxWarp>
          </a:bodyPr>
          <a:lstStyle/>
          <a:p>
            <a:pPr marL="0" indent="0">
              <a:buNone/>
            </a:pPr>
            <a:r>
              <a:rPr lang="en-US" sz="1800" b="1" dirty="0" smtClean="0"/>
              <a:t>Going forward</a:t>
            </a:r>
          </a:p>
          <a:p>
            <a:pPr marL="0" indent="0">
              <a:buNone/>
            </a:pPr>
            <a:r>
              <a:rPr lang="en-US" sz="1600" b="1" dirty="0" smtClean="0"/>
              <a:t>2017: Tests and pilots</a:t>
            </a:r>
          </a:p>
          <a:p>
            <a:pPr marL="0" indent="0">
              <a:buNone/>
            </a:pPr>
            <a:r>
              <a:rPr lang="en-US" sz="1600" dirty="0" smtClean="0"/>
              <a:t>The coming year(s) should be utilized to pilot and start proof-of-concepts on several locations, in different seasons</a:t>
            </a:r>
          </a:p>
          <a:p>
            <a:pPr marL="0" indent="0">
              <a:buNone/>
            </a:pPr>
            <a:endParaRPr lang="en-US" sz="1600" dirty="0"/>
          </a:p>
          <a:p>
            <a:pPr marL="0" indent="0">
              <a:buNone/>
            </a:pPr>
            <a:r>
              <a:rPr lang="en-US" sz="1600" b="1" dirty="0" smtClean="0"/>
              <a:t>2018 – 2020: First operational routes</a:t>
            </a:r>
          </a:p>
          <a:p>
            <a:pPr marL="0" indent="0">
              <a:buNone/>
            </a:pPr>
            <a:r>
              <a:rPr lang="en-US" sz="1600" dirty="0" smtClean="0"/>
              <a:t>The first routes in Oslo can be in traffic, but integrations will probably still need to grow</a:t>
            </a:r>
            <a:endParaRPr lang="en-US" sz="1800" dirty="0" smtClean="0"/>
          </a:p>
          <a:p>
            <a:pPr marL="0" indent="0">
              <a:buNone/>
            </a:pPr>
            <a:endParaRPr lang="en-US" sz="1600" b="1" dirty="0" smtClean="0"/>
          </a:p>
          <a:p>
            <a:pPr marL="0" indent="0">
              <a:buNone/>
            </a:pPr>
            <a:r>
              <a:rPr lang="en-US" sz="1600" b="1" dirty="0" smtClean="0"/>
              <a:t>2020 - 2025: Standardization and growth</a:t>
            </a:r>
            <a:endParaRPr lang="en-US" sz="1600" b="1" dirty="0"/>
          </a:p>
          <a:p>
            <a:pPr marL="0" indent="0">
              <a:buNone/>
            </a:pPr>
            <a:r>
              <a:rPr lang="en-US" sz="1600" dirty="0" smtClean="0"/>
              <a:t>Learnings from the initial routes are leading to increased efficiency, new routes and gradually becoming a normal part of public transport in Oslo</a:t>
            </a:r>
            <a:endParaRPr lang="en-US" sz="1600" dirty="0"/>
          </a:p>
          <a:p>
            <a:pPr marL="0" indent="0">
              <a:buNone/>
            </a:pPr>
            <a:endParaRPr lang="en-US" sz="1600" dirty="0" smtClean="0"/>
          </a:p>
        </p:txBody>
      </p:sp>
      <p:sp>
        <p:nvSpPr>
          <p:cNvPr id="4" name="Content Placeholder 2"/>
          <p:cNvSpPr txBox="1">
            <a:spLocks/>
          </p:cNvSpPr>
          <p:nvPr/>
        </p:nvSpPr>
        <p:spPr bwMode="auto">
          <a:xfrm>
            <a:off x="6205247" y="1628775"/>
            <a:ext cx="5761566" cy="4248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2075" tIns="46038" rIns="92075" bIns="46038" numCol="1" anchor="t" anchorCtr="0" compatLnSpc="1">
            <a:prstTxWarp prst="textNoShape">
              <a:avLst/>
            </a:prstTxWarp>
          </a:bodyPr>
          <a:lstStyle>
            <a:lvl1pPr indent="0" fontAlgn="base">
              <a:spcBef>
                <a:spcPct val="20000"/>
              </a:spcBef>
              <a:spcAft>
                <a:spcPct val="0"/>
              </a:spcAft>
              <a:buClr>
                <a:schemeClr val="tx1"/>
              </a:buClr>
              <a:buSzPct val="80000"/>
              <a:buFont typeface="Wingdings" pitchFamily="2" charset="2"/>
              <a:buNone/>
              <a:defRPr kumimoji="1" b="1"/>
            </a:lvl1pPr>
            <a:lvl2pPr marL="742950" indent="-285750" fontAlgn="base">
              <a:spcBef>
                <a:spcPct val="20000"/>
              </a:spcBef>
              <a:spcAft>
                <a:spcPct val="0"/>
              </a:spcAft>
              <a:buClr>
                <a:schemeClr val="tx1"/>
              </a:buClr>
              <a:buFont typeface="Symbol" pitchFamily="18" charset="2"/>
              <a:buChar char="-"/>
              <a:defRPr kumimoji="1"/>
            </a:lvl2pPr>
            <a:lvl3pPr marL="1085850" indent="-228600" fontAlgn="base">
              <a:spcBef>
                <a:spcPct val="20000"/>
              </a:spcBef>
              <a:spcAft>
                <a:spcPct val="0"/>
              </a:spcAft>
              <a:buClr>
                <a:schemeClr val="tx1"/>
              </a:buClr>
              <a:buFont typeface="Symbol" pitchFamily="18" charset="2"/>
              <a:buChar char="-"/>
              <a:defRPr kumimoji="1" sz="1600"/>
            </a:lvl3pPr>
            <a:lvl4pPr marL="1428750" indent="-228600" fontAlgn="base">
              <a:spcBef>
                <a:spcPct val="20000"/>
              </a:spcBef>
              <a:spcAft>
                <a:spcPct val="0"/>
              </a:spcAft>
              <a:buClr>
                <a:schemeClr val="tx1"/>
              </a:buClr>
              <a:buFont typeface="Symbol" pitchFamily="18" charset="2"/>
              <a:buChar char="-"/>
              <a:defRPr kumimoji="1" sz="1400"/>
            </a:lvl4pPr>
            <a:lvl5pPr marL="1771650" indent="-228600" fontAlgn="base">
              <a:spcBef>
                <a:spcPct val="20000"/>
              </a:spcBef>
              <a:spcAft>
                <a:spcPct val="0"/>
              </a:spcAft>
              <a:buClr>
                <a:schemeClr val="tx1"/>
              </a:buClr>
              <a:buFont typeface="Symbol" pitchFamily="18" charset="2"/>
              <a:buChar char="-"/>
              <a:defRPr kumimoji="1" sz="1000"/>
            </a:lvl5pPr>
            <a:lvl6pPr marL="2228850" indent="-228600" fontAlgn="base">
              <a:spcBef>
                <a:spcPct val="20000"/>
              </a:spcBef>
              <a:spcAft>
                <a:spcPct val="0"/>
              </a:spcAft>
              <a:buClr>
                <a:schemeClr val="tx1"/>
              </a:buClr>
              <a:buFont typeface="Symbol" pitchFamily="18" charset="2"/>
              <a:buChar char="-"/>
              <a:defRPr kumimoji="1" sz="1000"/>
            </a:lvl6pPr>
            <a:lvl7pPr marL="2686050" indent="-228600" fontAlgn="base">
              <a:spcBef>
                <a:spcPct val="20000"/>
              </a:spcBef>
              <a:spcAft>
                <a:spcPct val="0"/>
              </a:spcAft>
              <a:buClr>
                <a:schemeClr val="tx1"/>
              </a:buClr>
              <a:buFont typeface="Symbol" pitchFamily="18" charset="2"/>
              <a:buChar char="-"/>
              <a:defRPr kumimoji="1" sz="1000"/>
            </a:lvl7pPr>
            <a:lvl8pPr marL="3143250" indent="-228600" fontAlgn="base">
              <a:spcBef>
                <a:spcPct val="20000"/>
              </a:spcBef>
              <a:spcAft>
                <a:spcPct val="0"/>
              </a:spcAft>
              <a:buClr>
                <a:schemeClr val="tx1"/>
              </a:buClr>
              <a:buFont typeface="Symbol" pitchFamily="18" charset="2"/>
              <a:buChar char="-"/>
              <a:defRPr kumimoji="1" sz="1000"/>
            </a:lvl8pPr>
            <a:lvl9pPr marL="3600450" indent="-228600" fontAlgn="base">
              <a:spcBef>
                <a:spcPct val="20000"/>
              </a:spcBef>
              <a:spcAft>
                <a:spcPct val="0"/>
              </a:spcAft>
              <a:buClr>
                <a:schemeClr val="tx1"/>
              </a:buClr>
              <a:buFont typeface="Symbol" pitchFamily="18" charset="2"/>
              <a:buChar char="-"/>
              <a:defRPr kumimoji="1" sz="1000"/>
            </a:lvl9pPr>
          </a:lstStyle>
          <a:p>
            <a:r>
              <a:rPr lang="en-US" dirty="0"/>
              <a:t>Business in the concepts</a:t>
            </a:r>
          </a:p>
          <a:p>
            <a:pPr marL="342900" indent="-342900">
              <a:buClr>
                <a:srgbClr val="000000"/>
              </a:buClr>
              <a:buFont typeface="Wingdings" pitchFamily="2" charset="2"/>
              <a:buChar char="ð"/>
            </a:pPr>
            <a:r>
              <a:rPr lang="en-US" b="0" kern="0" dirty="0">
                <a:solidFill>
                  <a:srgbClr val="000000"/>
                </a:solidFill>
              </a:rPr>
              <a:t>Open for new cooperation's between parties</a:t>
            </a:r>
          </a:p>
          <a:p>
            <a:pPr marL="342900" indent="-342900">
              <a:buClr>
                <a:srgbClr val="000000"/>
              </a:buClr>
              <a:buFont typeface="Wingdings" pitchFamily="2" charset="2"/>
              <a:buChar char="ð"/>
            </a:pPr>
            <a:r>
              <a:rPr lang="en-US" b="0" kern="0" dirty="0">
                <a:solidFill>
                  <a:srgbClr val="000000"/>
                </a:solidFill>
              </a:rPr>
              <a:t>Open for learning processes, where SLAs and operational requirements are co-created as learnings arise</a:t>
            </a:r>
          </a:p>
          <a:p>
            <a:pPr marL="342900" indent="-342900">
              <a:buClr>
                <a:srgbClr val="000000"/>
              </a:buClr>
              <a:buFont typeface="Wingdings" pitchFamily="2" charset="2"/>
              <a:buChar char="ð"/>
            </a:pPr>
            <a:r>
              <a:rPr lang="en-US" b="0" kern="0" dirty="0">
                <a:solidFill>
                  <a:srgbClr val="000000"/>
                </a:solidFill>
              </a:rPr>
              <a:t>Open to facilitate test areas in different types of areas (hills, flat, curved and combinations)</a:t>
            </a:r>
          </a:p>
          <a:p>
            <a:pPr marL="342900" indent="-342900">
              <a:buClr>
                <a:srgbClr val="000000"/>
              </a:buClr>
              <a:buFont typeface="Wingdings" pitchFamily="2" charset="2"/>
              <a:buChar char="ð"/>
            </a:pPr>
            <a:r>
              <a:rPr lang="en-US" b="0" kern="0" dirty="0">
                <a:solidFill>
                  <a:srgbClr val="000000"/>
                </a:solidFill>
              </a:rPr>
              <a:t>Open for scalable procurement where supplier can grow service together with Ruter – partnership thinking is critical for a service</a:t>
            </a:r>
          </a:p>
          <a:p>
            <a:pPr lvl="1"/>
            <a:endParaRPr lang="en-US" dirty="0"/>
          </a:p>
        </p:txBody>
      </p:sp>
      <p:sp>
        <p:nvSpPr>
          <p:cNvPr id="5" name="Rectangle 4"/>
          <p:cNvSpPr/>
          <p:nvPr/>
        </p:nvSpPr>
        <p:spPr bwMode="auto">
          <a:xfrm>
            <a:off x="0" y="5500048"/>
            <a:ext cx="12192000" cy="750627"/>
          </a:xfrm>
          <a:prstGeom prst="rect">
            <a:avLst/>
          </a:prstGeom>
          <a:solidFill>
            <a:schemeClr val="tx2"/>
          </a:solidFill>
          <a:ln w="6350">
            <a:noFill/>
          </a:ln>
          <a:effectLst/>
          <a:extLst/>
        </p:spPr>
        <p:txBody>
          <a:bodyPr lIns="108000" tIns="108000" rIns="108000" bIns="108000" rtlCol="0" anchor="ctr"/>
          <a:lstStyle/>
          <a:p>
            <a:pPr algn="ctr" defTabSz="642938" eaLnBrk="0" hangingPunct="0">
              <a:lnSpc>
                <a:spcPct val="100000"/>
              </a:lnSpc>
              <a:spcBef>
                <a:spcPct val="0"/>
              </a:spcBef>
              <a:buClrTx/>
              <a:buFontTx/>
              <a:buNone/>
            </a:pPr>
            <a:r>
              <a:rPr lang="en-US" b="1" dirty="0" smtClean="0">
                <a:solidFill>
                  <a:schemeClr val="bg1"/>
                </a:solidFill>
              </a:rPr>
              <a:t>The key recommendation for Ruter is to establish pilots in 2017 and start the learning together with key partners</a:t>
            </a:r>
          </a:p>
        </p:txBody>
      </p:sp>
    </p:spTree>
    <p:extLst>
      <p:ext uri="{BB962C8B-B14F-4D97-AF65-F5344CB8AC3E}">
        <p14:creationId xmlns:p14="http://schemas.microsoft.com/office/powerpoint/2010/main" val="3086721586"/>
      </p:ext>
    </p:extLst>
  </p:cSld>
  <p:clrMapOvr>
    <a:masterClrMapping/>
  </p:clrMapOvr>
  <p:transition spd="slow"/>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9" name="Shape 479"/>
          <p:cNvSpPr>
            <a:spLocks noGrp="1"/>
          </p:cNvSpPr>
          <p:nvPr>
            <p:ph type="title"/>
          </p:nvPr>
        </p:nvSpPr>
        <p:spPr>
          <a:prstGeom prst="rect">
            <a:avLst/>
          </a:prstGeom>
        </p:spPr>
        <p:txBody>
          <a:bodyPr/>
          <a:lstStyle/>
          <a:p>
            <a:endParaRPr/>
          </a:p>
        </p:txBody>
      </p:sp>
      <p:sp>
        <p:nvSpPr>
          <p:cNvPr id="480" name="Shape 480"/>
          <p:cNvSpPr>
            <a:spLocks noGrp="1"/>
          </p:cNvSpPr>
          <p:nvPr>
            <p:ph type="body" idx="1"/>
          </p:nvPr>
        </p:nvSpPr>
        <p:spPr>
          <a:prstGeom prst="rect">
            <a:avLst/>
          </a:prstGeom>
        </p:spPr>
        <p:txBody>
          <a:bodyPr/>
          <a:lstStyle/>
          <a:p>
            <a:endParaRPr/>
          </a:p>
        </p:txBody>
      </p:sp>
      <p:pic>
        <p:nvPicPr>
          <p:cNvPr id="481" name="iStock_000085091211_Double.jpg"/>
          <p:cNvPicPr>
            <a:picLocks noChangeAspect="1"/>
          </p:cNvPicPr>
          <p:nvPr/>
        </p:nvPicPr>
        <p:blipFill>
          <a:blip r:embed="rId3">
            <a:extLst/>
          </a:blip>
          <a:stretch>
            <a:fillRect/>
          </a:stretch>
        </p:blipFill>
        <p:spPr>
          <a:xfrm>
            <a:off x="4544" y="-1248779"/>
            <a:ext cx="12192000" cy="8128000"/>
          </a:xfrm>
          <a:prstGeom prst="rect">
            <a:avLst/>
          </a:prstGeom>
          <a:ln w="12700">
            <a:miter lim="400000"/>
          </a:ln>
        </p:spPr>
      </p:pic>
      <p:grpSp>
        <p:nvGrpSpPr>
          <p:cNvPr id="484" name="Group 484"/>
          <p:cNvGrpSpPr/>
          <p:nvPr/>
        </p:nvGrpSpPr>
        <p:grpSpPr>
          <a:xfrm>
            <a:off x="4544" y="6244220"/>
            <a:ext cx="12187456" cy="635001"/>
            <a:chOff x="0" y="0"/>
            <a:chExt cx="24485714" cy="1270000"/>
          </a:xfrm>
        </p:grpSpPr>
        <p:sp>
          <p:nvSpPr>
            <p:cNvPr id="482" name="Shape 482"/>
            <p:cNvSpPr/>
            <p:nvPr/>
          </p:nvSpPr>
          <p:spPr>
            <a:xfrm>
              <a:off x="0" y="0"/>
              <a:ext cx="24485715" cy="1270000"/>
            </a:xfrm>
            <a:prstGeom prst="rect">
              <a:avLst/>
            </a:prstGeom>
            <a:solidFill>
              <a:srgbClr val="000000">
                <a:alpha val="64644"/>
              </a:srgbClr>
            </a:solidFill>
            <a:ln w="12700" cap="flat">
              <a:noFill/>
              <a:miter lim="400000"/>
            </a:ln>
            <a:effectLst/>
          </p:spPr>
          <p:txBody>
            <a:bodyPr wrap="square" lIns="25400" tIns="25400" rIns="25400" bIns="25400" numCol="1" anchor="ctr">
              <a:noAutofit/>
            </a:bodyPr>
            <a:lstStyle/>
            <a:p>
              <a:pPr algn="ctr" defTabSz="412750" hangingPunct="0">
                <a:defRPr sz="3600"/>
              </a:pPr>
              <a:endParaRPr kern="0">
                <a:solidFill>
                  <a:srgbClr val="FFFFFF"/>
                </a:solidFill>
                <a:latin typeface="Helvetica Light"/>
                <a:sym typeface="Helvetica Light"/>
              </a:endParaRPr>
            </a:p>
          </p:txBody>
        </p:sp>
        <p:pic>
          <p:nvPicPr>
            <p:cNvPr id="483" name="bertel o streen logo hvit.ai"/>
            <p:cNvPicPr>
              <a:picLocks noChangeAspect="1"/>
            </p:cNvPicPr>
            <p:nvPr/>
          </p:nvPicPr>
          <p:blipFill>
            <a:blip r:embed="rId4">
              <a:extLst/>
            </a:blip>
            <a:stretch>
              <a:fillRect/>
            </a:stretch>
          </p:blipFill>
          <p:spPr>
            <a:xfrm>
              <a:off x="17685128" y="153369"/>
              <a:ext cx="5724445" cy="963263"/>
            </a:xfrm>
            <a:prstGeom prst="rect">
              <a:avLst/>
            </a:prstGeom>
            <a:ln w="12700" cap="flat">
              <a:noFill/>
              <a:miter lim="400000"/>
            </a:ln>
            <a:effectLst/>
          </p:spPr>
        </p:pic>
      </p:grpSp>
      <p:sp>
        <p:nvSpPr>
          <p:cNvPr id="8" name="Title 1"/>
          <p:cNvSpPr txBox="1">
            <a:spLocks/>
          </p:cNvSpPr>
          <p:nvPr/>
        </p:nvSpPr>
        <p:spPr>
          <a:xfrm>
            <a:off x="-86497" y="5023850"/>
            <a:ext cx="12192000" cy="1016177"/>
          </a:xfrm>
          <a:prstGeom prst="rect">
            <a:avLst/>
          </a:prstGeom>
          <a:ln w="12700">
            <a:miter lim="400000"/>
          </a:ln>
          <a:extLst>
            <a:ext uri="{C572A759-6A51-4108-AA02-DFA0A04FC94B}">
              <ma14:wrappingTextBoxFlag xmlns:ma14="http://schemas.microsoft.com/office/mac/drawingml/2011/main" xmlns="" val="1"/>
            </a:ext>
          </a:extLst>
        </p:spPr>
        <p:txBody>
          <a:bodyPr lIns="25400" tIns="25400" rIns="25400" bIns="25400" anchor="t">
            <a:noAutofit/>
          </a:bodyPr>
          <a:lstStyle>
            <a:lvl1pPr marL="0" marR="0" indent="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FFFFFF"/>
                </a:solidFill>
                <a:uFillTx/>
                <a:latin typeface="+mn-lt"/>
                <a:ea typeface="+mn-ea"/>
                <a:cs typeface="+mn-cs"/>
                <a:sym typeface="Helvetica Light"/>
              </a:defRPr>
            </a:lvl1pPr>
            <a:lvl2pPr marL="0" marR="0" indent="22860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FFFFFF"/>
                </a:solidFill>
                <a:uFillTx/>
                <a:latin typeface="+mn-lt"/>
                <a:ea typeface="+mn-ea"/>
                <a:cs typeface="+mn-cs"/>
                <a:sym typeface="Helvetica Light"/>
              </a:defRPr>
            </a:lvl2pPr>
            <a:lvl3pPr marL="0" marR="0" indent="45720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FFFFFF"/>
                </a:solidFill>
                <a:uFillTx/>
                <a:latin typeface="+mn-lt"/>
                <a:ea typeface="+mn-ea"/>
                <a:cs typeface="+mn-cs"/>
                <a:sym typeface="Helvetica Light"/>
              </a:defRPr>
            </a:lvl3pPr>
            <a:lvl4pPr marL="0" marR="0" indent="68580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FFFFFF"/>
                </a:solidFill>
                <a:uFillTx/>
                <a:latin typeface="+mn-lt"/>
                <a:ea typeface="+mn-ea"/>
                <a:cs typeface="+mn-cs"/>
                <a:sym typeface="Helvetica Light"/>
              </a:defRPr>
            </a:lvl4pPr>
            <a:lvl5pPr marL="0" marR="0" indent="91440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FFFFFF"/>
                </a:solidFill>
                <a:uFillTx/>
                <a:latin typeface="+mn-lt"/>
                <a:ea typeface="+mn-ea"/>
                <a:cs typeface="+mn-cs"/>
                <a:sym typeface="Helvetica Light"/>
              </a:defRPr>
            </a:lvl5pPr>
            <a:lvl6pPr marL="0" marR="0" indent="114300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FFFFFF"/>
                </a:solidFill>
                <a:uFillTx/>
                <a:latin typeface="+mn-lt"/>
                <a:ea typeface="+mn-ea"/>
                <a:cs typeface="+mn-cs"/>
                <a:sym typeface="Helvetica Light"/>
              </a:defRPr>
            </a:lvl6pPr>
            <a:lvl7pPr marL="0" marR="0" indent="137160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FFFFFF"/>
                </a:solidFill>
                <a:uFillTx/>
                <a:latin typeface="+mn-lt"/>
                <a:ea typeface="+mn-ea"/>
                <a:cs typeface="+mn-cs"/>
                <a:sym typeface="Helvetica Light"/>
              </a:defRPr>
            </a:lvl7pPr>
            <a:lvl8pPr marL="0" marR="0" indent="160020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FFFFFF"/>
                </a:solidFill>
                <a:uFillTx/>
                <a:latin typeface="+mn-lt"/>
                <a:ea typeface="+mn-ea"/>
                <a:cs typeface="+mn-cs"/>
                <a:sym typeface="Helvetica Light"/>
              </a:defRPr>
            </a:lvl8pPr>
            <a:lvl9pPr marL="0" marR="0" indent="1828800" algn="ctr" defTabSz="825500" rtl="0" latinLnBrk="0">
              <a:lnSpc>
                <a:spcPct val="100000"/>
              </a:lnSpc>
              <a:spcBef>
                <a:spcPts val="0"/>
              </a:spcBef>
              <a:spcAft>
                <a:spcPts val="0"/>
              </a:spcAft>
              <a:buClrTx/>
              <a:buSzTx/>
              <a:buFontTx/>
              <a:buNone/>
              <a:tabLst/>
              <a:defRPr sz="11200" b="0" i="0" u="none" strike="noStrike" cap="none" spc="0" baseline="0">
                <a:ln>
                  <a:noFill/>
                </a:ln>
                <a:solidFill>
                  <a:srgbClr val="FFFFFF"/>
                </a:solidFill>
                <a:uFillTx/>
                <a:latin typeface="+mn-lt"/>
                <a:ea typeface="+mn-ea"/>
                <a:cs typeface="+mn-cs"/>
                <a:sym typeface="Helvetica Light"/>
              </a:defRPr>
            </a:lvl9pPr>
          </a:lstStyle>
          <a:p>
            <a:pPr defTabSz="412750">
              <a:defRPr/>
            </a:pPr>
            <a:r>
              <a:rPr lang="nb-NO" sz="6000" b="1" kern="0" dirty="0" err="1" smtClean="0">
                <a:effectLst>
                  <a:outerShdw blurRad="50800" dist="76200" dir="2700000" algn="tl" rotWithShape="0">
                    <a:prstClr val="black">
                      <a:alpha val="40000"/>
                    </a:prstClr>
                  </a:outerShdw>
                </a:effectLst>
                <a:latin typeface="Arial" panose="020B0604020202020204" pitchFamily="34" charset="0"/>
                <a:ea typeface="Helvetica" charset="0"/>
                <a:cs typeface="Arial" panose="020B0604020202020204" pitchFamily="34" charset="0"/>
              </a:rPr>
              <a:t>Thank</a:t>
            </a:r>
            <a:r>
              <a:rPr lang="nb-NO" sz="6000" b="1" kern="0" dirty="0" smtClean="0">
                <a:effectLst>
                  <a:outerShdw blurRad="50800" dist="76200" dir="2700000" algn="tl" rotWithShape="0">
                    <a:prstClr val="black">
                      <a:alpha val="40000"/>
                    </a:prstClr>
                  </a:outerShdw>
                </a:effectLst>
                <a:latin typeface="Arial" panose="020B0604020202020204" pitchFamily="34" charset="0"/>
                <a:ea typeface="Helvetica" charset="0"/>
                <a:cs typeface="Arial" panose="020B0604020202020204" pitchFamily="34" charset="0"/>
              </a:rPr>
              <a:t> </a:t>
            </a:r>
            <a:r>
              <a:rPr lang="nb-NO" sz="6000" b="1" kern="0" dirty="0" err="1" smtClean="0">
                <a:effectLst>
                  <a:outerShdw blurRad="50800" dist="76200" dir="2700000" algn="tl" rotWithShape="0">
                    <a:prstClr val="black">
                      <a:alpha val="40000"/>
                    </a:prstClr>
                  </a:outerShdw>
                </a:effectLst>
                <a:latin typeface="Arial" panose="020B0604020202020204" pitchFamily="34" charset="0"/>
                <a:ea typeface="Helvetica" charset="0"/>
                <a:cs typeface="Arial" panose="020B0604020202020204" pitchFamily="34" charset="0"/>
              </a:rPr>
              <a:t>you</a:t>
            </a:r>
            <a:endParaRPr lang="en-US" sz="6000" b="1" kern="0" dirty="0">
              <a:effectLst>
                <a:outerShdw blurRad="50800" dist="76200" dir="2700000" algn="tl" rotWithShape="0">
                  <a:prstClr val="black">
                    <a:alpha val="40000"/>
                  </a:prstClr>
                </a:outerShdw>
              </a:effectLst>
              <a:latin typeface="Arial" panose="020B0604020202020204" pitchFamily="34" charset="0"/>
              <a:ea typeface="Helvetica" charset="0"/>
              <a:cs typeface="Arial" panose="020B0604020202020204" pitchFamily="34" charset="0"/>
            </a:endParaRPr>
          </a:p>
        </p:txBody>
      </p:sp>
    </p:spTree>
    <p:extLst>
      <p:ext uri="{BB962C8B-B14F-4D97-AF65-F5344CB8AC3E}">
        <p14:creationId xmlns:p14="http://schemas.microsoft.com/office/powerpoint/2010/main" val="28223256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BOS_Template_NO0881_102013">
  <a:themeElements>
    <a:clrScheme name="Custom 4">
      <a:dk1>
        <a:srgbClr val="000000"/>
      </a:dk1>
      <a:lt1>
        <a:srgbClr val="FFFFFF"/>
      </a:lt1>
      <a:dk2>
        <a:srgbClr val="42ABBC"/>
      </a:dk2>
      <a:lt2>
        <a:srgbClr val="AD9A84"/>
      </a:lt2>
      <a:accent1>
        <a:srgbClr val="C8BBAC"/>
      </a:accent1>
      <a:accent2>
        <a:srgbClr val="DE4911"/>
      </a:accent2>
      <a:accent3>
        <a:srgbClr val="F1BE01"/>
      </a:accent3>
      <a:accent4>
        <a:srgbClr val="8A755C"/>
      </a:accent4>
      <a:accent5>
        <a:srgbClr val="E0DAD2"/>
      </a:accent5>
      <a:accent6>
        <a:srgbClr val="C9410E"/>
      </a:accent6>
      <a:hlink>
        <a:srgbClr val="F1BE01"/>
      </a:hlink>
      <a:folHlink>
        <a:srgbClr val="8A755C"/>
      </a:folHlink>
    </a:clrScheme>
    <a:fontScheme name="BOS PPT mal 2">
      <a:majorFont>
        <a:latin typeface="Garamond"/>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w="6350">
          <a:noFill/>
        </a:ln>
        <a:effectLst/>
        <a:extLst/>
      </a:spPr>
      <a:bodyPr lIns="108000" tIns="108000" rIns="108000" bIns="108000" anchor="ctr"/>
      <a:lstStyle>
        <a:defPPr algn="ctr" defTabSz="642938" eaLnBrk="0" hangingPunct="0">
          <a:lnSpc>
            <a:spcPct val="100000"/>
          </a:lnSpc>
          <a:spcBef>
            <a:spcPct val="0"/>
          </a:spcBef>
          <a:buClrTx/>
          <a:buFontTx/>
          <a:buNone/>
          <a:defRPr sz="1200" b="1" dirty="0" smtClean="0">
            <a:solidFill>
              <a:schemeClr val="bg1"/>
            </a:solidFill>
          </a:defRPr>
        </a:defPPr>
      </a:lstStyle>
    </a:spDef>
    <a:lnDef>
      <a:spPr bwMode="auto">
        <a:noFill/>
        <a:ln w="6350" algn="ctr">
          <a:solidFill>
            <a:schemeClr val="tx1"/>
          </a:solidFill>
          <a:round/>
          <a:headEnd/>
          <a:tailEnd/>
        </a:ln>
        <a:extLst>
          <a:ext uri="{909E8E84-426E-40DD-AFC4-6F175D3DCCD1}">
            <a14:hiddenFill xmlns:a14="http://schemas.microsoft.com/office/drawing/2010/main">
              <a:noFill/>
            </a14:hiddenFill>
          </a:ext>
        </a:extLst>
      </a:spPr>
      <a:bodyPr/>
      <a:lstStyle/>
    </a:lnDef>
    <a:txDef>
      <a:spPr>
        <a:noFill/>
      </a:spPr>
      <a:bodyPr wrap="square" rtlCol="0">
        <a:spAutoFit/>
      </a:bodyPr>
      <a:lstStyle>
        <a:defPPr marL="184150" indent="-187325">
          <a:lnSpc>
            <a:spcPct val="90000"/>
          </a:lnSpc>
          <a:spcBef>
            <a:spcPts val="200"/>
          </a:spcBef>
          <a:buSzPct val="80000"/>
          <a:buFont typeface="Wingdings" panose="05000000000000000000" pitchFamily="2" charset="2"/>
          <a:buChar char="ð"/>
          <a:defRPr sz="1200" dirty="0" smtClean="0"/>
        </a:defPPr>
      </a:lstStyle>
    </a:txDef>
  </a:objectDefaults>
  <a:extraClrSchemeLst>
    <a:extraClrScheme>
      <a:clrScheme name="BOS PPT mal 2 1">
        <a:dk1>
          <a:srgbClr val="000000"/>
        </a:dk1>
        <a:lt1>
          <a:srgbClr val="FFFFFF"/>
        </a:lt1>
        <a:dk2>
          <a:srgbClr val="000000"/>
        </a:dk2>
        <a:lt2>
          <a:srgbClr val="969696"/>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BOS PPT mal 2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33"/>
        </a:hlink>
        <a:folHlink>
          <a:srgbClr val="969696"/>
        </a:folHlink>
      </a:clrScheme>
      <a:clrMap bg1="dk2" tx1="lt1" bg2="dk1" tx2="lt2" accent1="accent1" accent2="accent2" accent3="accent3" accent4="accent4" accent5="accent5" accent6="accent6" hlink="hlink" folHlink="folHlink"/>
    </a:extraClrScheme>
    <a:extraClrScheme>
      <a:clrScheme name="BOS PPT mal 2 3">
        <a:dk1>
          <a:srgbClr val="000000"/>
        </a:dk1>
        <a:lt1>
          <a:srgbClr val="FFFFFF"/>
        </a:lt1>
        <a:dk2>
          <a:srgbClr val="000000"/>
        </a:dk2>
        <a:lt2>
          <a:srgbClr val="393939"/>
        </a:lt2>
        <a:accent1>
          <a:srgbClr val="CBCBCB"/>
        </a:accent1>
        <a:accent2>
          <a:srgbClr val="868686"/>
        </a:accent2>
        <a:accent3>
          <a:srgbClr val="FFFFFF"/>
        </a:accent3>
        <a:accent4>
          <a:srgbClr val="000000"/>
        </a:accent4>
        <a:accent5>
          <a:srgbClr val="E2E2E2"/>
        </a:accent5>
        <a:accent6>
          <a:srgbClr val="797979"/>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BOS PPT mal 2 4">
        <a:dk1>
          <a:srgbClr val="000000"/>
        </a:dk1>
        <a:lt1>
          <a:srgbClr val="FFFFFF"/>
        </a:lt1>
        <a:dk2>
          <a:srgbClr val="000000"/>
        </a:dk2>
        <a:lt2>
          <a:srgbClr val="9F9F9F"/>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BOS PPT mal 2 5">
        <a:dk1>
          <a:srgbClr val="000000"/>
        </a:dk1>
        <a:lt1>
          <a:srgbClr val="FFFFFF"/>
        </a:lt1>
        <a:dk2>
          <a:srgbClr val="000000"/>
        </a:dk2>
        <a:lt2>
          <a:srgbClr val="868686"/>
        </a:lt2>
        <a:accent1>
          <a:srgbClr val="CBCBCB"/>
        </a:accent1>
        <a:accent2>
          <a:srgbClr val="0066FF"/>
        </a:accent2>
        <a:accent3>
          <a:srgbClr val="FFFFFF"/>
        </a:accent3>
        <a:accent4>
          <a:srgbClr val="000000"/>
        </a:accent4>
        <a:accent5>
          <a:srgbClr val="E2E2E2"/>
        </a:accent5>
        <a:accent6>
          <a:srgbClr val="005CE7"/>
        </a:accent6>
        <a:hlink>
          <a:srgbClr val="FF0033"/>
        </a:hlink>
        <a:folHlink>
          <a:srgbClr val="009900"/>
        </a:folHlink>
      </a:clrScheme>
      <a:clrMap bg1="lt1" tx1="dk1" bg2="lt2" tx2="dk2" accent1="accent1" accent2="accent2" accent3="accent3" accent4="accent4" accent5="accent5" accent6="accent6" hlink="hlink" folHlink="folHlink"/>
    </a:extraClrScheme>
    <a:extraClrScheme>
      <a:clrScheme name="BOS PPT mal 2 6">
        <a:dk1>
          <a:srgbClr val="000000"/>
        </a:dk1>
        <a:lt1>
          <a:srgbClr val="FFFFFF"/>
        </a:lt1>
        <a:dk2>
          <a:srgbClr val="000000"/>
        </a:dk2>
        <a:lt2>
          <a:srgbClr val="969696"/>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BOS PPT mal 2 7">
        <a:dk1>
          <a:srgbClr val="000000"/>
        </a:dk1>
        <a:lt1>
          <a:srgbClr val="FFFFCC"/>
        </a:lt1>
        <a:dk2>
          <a:srgbClr val="999933"/>
        </a:dk2>
        <a:lt2>
          <a:srgbClr val="808000"/>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BOS PPT mal 2 8">
        <a:dk1>
          <a:srgbClr val="111111"/>
        </a:dk1>
        <a:lt1>
          <a:srgbClr val="FFFFFF"/>
        </a:lt1>
        <a:dk2>
          <a:srgbClr val="3A6FA4"/>
        </a:dk2>
        <a:lt2>
          <a:srgbClr val="AD9A84"/>
        </a:lt2>
        <a:accent1>
          <a:srgbClr val="C8BBAC"/>
        </a:accent1>
        <a:accent2>
          <a:srgbClr val="FF3300"/>
        </a:accent2>
        <a:accent3>
          <a:srgbClr val="FFFFFF"/>
        </a:accent3>
        <a:accent4>
          <a:srgbClr val="0D0D0D"/>
        </a:accent4>
        <a:accent5>
          <a:srgbClr val="E0DAD2"/>
        </a:accent5>
        <a:accent6>
          <a:srgbClr val="E72D00"/>
        </a:accent6>
        <a:hlink>
          <a:srgbClr val="FFDB43"/>
        </a:hlink>
        <a:folHlink>
          <a:srgbClr val="8A755C"/>
        </a:folHlink>
      </a:clrScheme>
      <a:clrMap bg1="lt1" tx1="dk1" bg2="lt2" tx2="dk2" accent1="accent1" accent2="accent2" accent3="accent3" accent4="accent4" accent5="accent5" accent6="accent6" hlink="hlink" folHlink="folHlink"/>
    </a:extraClrScheme>
    <a:extraClrScheme>
      <a:clrScheme name="BOS PPT mal 2 9">
        <a:dk1>
          <a:srgbClr val="000000"/>
        </a:dk1>
        <a:lt1>
          <a:srgbClr val="FFFFFF"/>
        </a:lt1>
        <a:dk2>
          <a:srgbClr val="3A6FA4"/>
        </a:dk2>
        <a:lt2>
          <a:srgbClr val="AD9A84"/>
        </a:lt2>
        <a:accent1>
          <a:srgbClr val="C8BBAC"/>
        </a:accent1>
        <a:accent2>
          <a:srgbClr val="FF3300"/>
        </a:accent2>
        <a:accent3>
          <a:srgbClr val="FFFFFF"/>
        </a:accent3>
        <a:accent4>
          <a:srgbClr val="000000"/>
        </a:accent4>
        <a:accent5>
          <a:srgbClr val="E0DAD2"/>
        </a:accent5>
        <a:accent6>
          <a:srgbClr val="E72D00"/>
        </a:accent6>
        <a:hlink>
          <a:srgbClr val="FFDB43"/>
        </a:hlink>
        <a:folHlink>
          <a:srgbClr val="8A755C"/>
        </a:folHlink>
      </a:clrScheme>
      <a:clrMap bg1="lt1" tx1="dk1" bg2="lt2" tx2="dk2" accent1="accent1" accent2="accent2" accent3="accent3" accent4="accent4" accent5="accent5" accent6="accent6" hlink="hlink" folHlink="folHlink"/>
    </a:extraClrScheme>
    <a:extraClrScheme>
      <a:clrScheme name="BOS PPT mal 2 10">
        <a:dk1>
          <a:srgbClr val="000000"/>
        </a:dk1>
        <a:lt1>
          <a:srgbClr val="FFFFFF"/>
        </a:lt1>
        <a:dk2>
          <a:srgbClr val="5E92C6"/>
        </a:dk2>
        <a:lt2>
          <a:srgbClr val="AD9A84"/>
        </a:lt2>
        <a:accent1>
          <a:srgbClr val="C8BBAC"/>
        </a:accent1>
        <a:accent2>
          <a:srgbClr val="FF3300"/>
        </a:accent2>
        <a:accent3>
          <a:srgbClr val="FFFFFF"/>
        </a:accent3>
        <a:accent4>
          <a:srgbClr val="000000"/>
        </a:accent4>
        <a:accent5>
          <a:srgbClr val="E0DAD2"/>
        </a:accent5>
        <a:accent6>
          <a:srgbClr val="E72D00"/>
        </a:accent6>
        <a:hlink>
          <a:srgbClr val="FFDB43"/>
        </a:hlink>
        <a:folHlink>
          <a:srgbClr val="8A755C"/>
        </a:folHlink>
      </a:clrScheme>
      <a:clrMap bg1="lt1" tx1="dk1" bg2="lt2" tx2="dk2" accent1="accent1" accent2="accent2" accent3="accent3" accent4="accent4" accent5="accent5" accent6="accent6" hlink="hlink" folHlink="folHlink"/>
    </a:extraClrScheme>
    <a:extraClrScheme>
      <a:clrScheme name="BOS PPT mal 2 11">
        <a:dk1>
          <a:srgbClr val="000000"/>
        </a:dk1>
        <a:lt1>
          <a:srgbClr val="FFFFFF"/>
        </a:lt1>
        <a:dk2>
          <a:srgbClr val="38909E"/>
        </a:dk2>
        <a:lt2>
          <a:srgbClr val="AD9A84"/>
        </a:lt2>
        <a:accent1>
          <a:srgbClr val="C8BBAC"/>
        </a:accent1>
        <a:accent2>
          <a:srgbClr val="DE4911"/>
        </a:accent2>
        <a:accent3>
          <a:srgbClr val="FFFFFF"/>
        </a:accent3>
        <a:accent4>
          <a:srgbClr val="000000"/>
        </a:accent4>
        <a:accent5>
          <a:srgbClr val="E0DAD2"/>
        </a:accent5>
        <a:accent6>
          <a:srgbClr val="C9410E"/>
        </a:accent6>
        <a:hlink>
          <a:srgbClr val="F1BE01"/>
        </a:hlink>
        <a:folHlink>
          <a:srgbClr val="8A755C"/>
        </a:folHlink>
      </a:clrScheme>
      <a:clrMap bg1="lt1" tx1="dk1" bg2="lt2" tx2="dk2" accent1="accent1" accent2="accent2" accent3="accent3" accent4="accent4" accent5="accent5" accent6="accent6" hlink="hlink" folHlink="folHlink"/>
    </a:extraClrScheme>
    <a:extraClrScheme>
      <a:clrScheme name="BOS PPT mal 2 12">
        <a:dk1>
          <a:srgbClr val="000000"/>
        </a:dk1>
        <a:lt1>
          <a:srgbClr val="FFFFFF"/>
        </a:lt1>
        <a:dk2>
          <a:srgbClr val="42ABBC"/>
        </a:dk2>
        <a:lt2>
          <a:srgbClr val="AD9A84"/>
        </a:lt2>
        <a:accent1>
          <a:srgbClr val="C8BBAC"/>
        </a:accent1>
        <a:accent2>
          <a:srgbClr val="DE4911"/>
        </a:accent2>
        <a:accent3>
          <a:srgbClr val="FFFFFF"/>
        </a:accent3>
        <a:accent4>
          <a:srgbClr val="000000"/>
        </a:accent4>
        <a:accent5>
          <a:srgbClr val="E0DAD2"/>
        </a:accent5>
        <a:accent6>
          <a:srgbClr val="C9410E"/>
        </a:accent6>
        <a:hlink>
          <a:srgbClr val="F1BE01"/>
        </a:hlink>
        <a:folHlink>
          <a:srgbClr val="8A755C"/>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01</TotalTime>
  <Words>764</Words>
  <Application>Microsoft Office PowerPoint</Application>
  <PresentationFormat>Widescreen</PresentationFormat>
  <Paragraphs>76</Paragraphs>
  <Slides>8</Slides>
  <Notes>6</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8</vt:i4>
      </vt:variant>
    </vt:vector>
  </HeadingPairs>
  <TitlesOfParts>
    <vt:vector size="19" baseType="lpstr">
      <vt:lpstr>Arial</vt:lpstr>
      <vt:lpstr>Calibri</vt:lpstr>
      <vt:lpstr>Calibri Light</vt:lpstr>
      <vt:lpstr>Garamond</vt:lpstr>
      <vt:lpstr>Helvetica</vt:lpstr>
      <vt:lpstr>Helvetica Light</vt:lpstr>
      <vt:lpstr>Symbol</vt:lpstr>
      <vt:lpstr>Wingdings</vt:lpstr>
      <vt:lpstr>Office Theme</vt:lpstr>
      <vt:lpstr>1_BOS_Template_NO0881_102013</vt:lpstr>
      <vt:lpstr>think-cell Slide</vt:lpstr>
      <vt:lpstr>PowerPoint Presentation</vt:lpstr>
      <vt:lpstr>Bertel O. Steen – we have for many years been an important part of transportation in Norway, and intend to also be for the future</vt:lpstr>
      <vt:lpstr>We see 4 key trends for our industy – Electrification, Connectivty, Autonomous driving and mobility </vt:lpstr>
      <vt:lpstr>Next generation transportation systems will integrate different modes of transport in a completely different system than what we experience today</vt:lpstr>
      <vt:lpstr>Bertel O. Steen ensures import and logistics of Easymile in Norway and we have contributed to several demonstrations in 2016, and expect more to come in 2017</vt:lpstr>
      <vt:lpstr>For autonomous vehicles to become a reality in Norway there are several obstacles that need to be adressed</vt:lpstr>
      <vt:lpstr>Operations is still a few years ahead, but we are ready to start – and Ruter should invest and establish partnerships to grow the concepts to be an attractive business partner in the area</vt:lpstr>
      <vt:lpstr>PowerPoint Presentation</vt:lpstr>
    </vt:vector>
  </TitlesOfParts>
  <Company>Bertel O. Steen A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re Borvik Knutsen</dc:creator>
  <cp:lastModifiedBy>Are Borvik Knutsen</cp:lastModifiedBy>
  <cp:revision>20</cp:revision>
  <dcterms:created xsi:type="dcterms:W3CDTF">2017-01-10T14:03:36Z</dcterms:created>
  <dcterms:modified xsi:type="dcterms:W3CDTF">2017-01-11T10:52:02Z</dcterms:modified>
</cp:coreProperties>
</file>